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6" r:id="rId2"/>
    <p:sldId id="273" r:id="rId3"/>
    <p:sldId id="294" r:id="rId4"/>
    <p:sldId id="296" r:id="rId5"/>
  </p:sldIdLst>
  <p:sldSz cx="19010313" cy="10693400"/>
  <p:notesSz cx="7556500" cy="106934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892F273-E127-4800-A7E3-9C0439C24F2E}">
          <p14:sldIdLst>
            <p14:sldId id="256"/>
            <p14:sldId id="273"/>
            <p14:sldId id="294"/>
            <p14:sldId id="296"/>
          </p14:sldIdLst>
        </p14:section>
        <p14:section name="Backup" id="{E2E20E84-C073-43AA-9FBE-230FECAB6F0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44" userDrawn="1">
          <p15:clr>
            <a:srgbClr val="A4A3A4"/>
          </p15:clr>
        </p15:guide>
        <p15:guide id="2" pos="522" userDrawn="1">
          <p15:clr>
            <a:srgbClr val="A4A3A4"/>
          </p15:clr>
        </p15:guide>
        <p15:guide id="3" orient="horz" pos="6180" userDrawn="1">
          <p15:clr>
            <a:srgbClr val="A4A3A4"/>
          </p15:clr>
        </p15:guide>
        <p15:guide id="4" pos="11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81BE41"/>
    <a:srgbClr val="FFFFFF"/>
    <a:srgbClr val="00A0F0"/>
    <a:srgbClr val="D9D9D9"/>
    <a:srgbClr val="BFBFBF"/>
    <a:srgbClr val="6EC9F6"/>
    <a:srgbClr val="2BB0F3"/>
    <a:srgbClr val="F6FAF2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810284-B447-443F-81E8-427B9BD3EB0E}" v="1929" dt="2021-12-13T12:32:32.206"/>
    <p1510:client id="{634468C0-C794-43FA-B9B7-DA70A6902159}" v="9" dt="2021-12-13T11:09:42.267"/>
    <p1510:client id="{76834765-1E29-4199-98FE-FBD3EBEC27C8}" v="207" dt="2021-12-13T10:57:51.402"/>
    <p1510:client id="{ABCD8720-87BF-4BB5-B498-642B7F10BF74}" v="103" dt="2021-12-12T15:05:54.338"/>
    <p1510:client id="{BB2C405F-3390-6D4C-B4AA-143DDEFB957A}" v="417" dt="2021-12-13T12:48:07.260"/>
    <p1510:client id="{C79B15EC-F659-4664-80C3-541780282E28}" v="2436" dt="2021-12-13T11:03:51.954"/>
    <p1510:client id="{CB06A472-BB08-488B-BB83-ED6E3D0B39ED}" v="220" dt="2021-12-13T08:40:54.11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44"/>
        <p:guide pos="522"/>
        <p:guide orient="horz" pos="6180"/>
        <p:guide pos="11385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gnus Lütt" userId="a5ce4c93dcdbffd9" providerId="LiveId" clId="{B3489C9D-1254-4145-9CD3-71EFD119BF10}"/>
    <pc:docChg chg="undo custSel addSld delSld modSld sldOrd">
      <pc:chgData name="Magnus Lütt" userId="a5ce4c93dcdbffd9" providerId="LiveId" clId="{B3489C9D-1254-4145-9CD3-71EFD119BF10}" dt="2021-11-17T10:45:28.739" v="1827" actId="14100"/>
      <pc:docMkLst>
        <pc:docMk/>
      </pc:docMkLst>
      <pc:sldChg chg="modSp mod">
        <pc:chgData name="Magnus Lütt" userId="a5ce4c93dcdbffd9" providerId="LiveId" clId="{B3489C9D-1254-4145-9CD3-71EFD119BF10}" dt="2021-11-16T14:20:54.758" v="1" actId="20577"/>
        <pc:sldMkLst>
          <pc:docMk/>
          <pc:sldMk cId="0" sldId="256"/>
        </pc:sldMkLst>
        <pc:spChg chg="mod">
          <ac:chgData name="Magnus Lütt" userId="a5ce4c93dcdbffd9" providerId="LiveId" clId="{B3489C9D-1254-4145-9CD3-71EFD119BF10}" dt="2021-11-16T14:20:54.758" v="1" actId="20577"/>
          <ac:spMkLst>
            <pc:docMk/>
            <pc:sldMk cId="0" sldId="256"/>
            <ac:spMk id="18" creationId="{00000000-0000-0000-0000-000000000000}"/>
          </ac:spMkLst>
        </pc:spChg>
      </pc:sldChg>
      <pc:sldChg chg="addSp delSp modSp del mod ord">
        <pc:chgData name="Magnus Lütt" userId="a5ce4c93dcdbffd9" providerId="LiveId" clId="{B3489C9D-1254-4145-9CD3-71EFD119BF10}" dt="2021-11-17T10:43:51.313" v="1789" actId="47"/>
        <pc:sldMkLst>
          <pc:docMk/>
          <pc:sldMk cId="2725854789" sldId="266"/>
        </pc:sldMkLst>
        <pc:spChg chg="mod">
          <ac:chgData name="Magnus Lütt" userId="a5ce4c93dcdbffd9" providerId="LiveId" clId="{B3489C9D-1254-4145-9CD3-71EFD119BF10}" dt="2021-11-16T14:24:57.945" v="76" actId="1076"/>
          <ac:spMkLst>
            <pc:docMk/>
            <pc:sldMk cId="2725854789" sldId="266"/>
            <ac:spMk id="2" creationId="{00000000-0000-0000-0000-000000000000}"/>
          </ac:spMkLst>
        </pc:spChg>
        <pc:spChg chg="mod">
          <ac:chgData name="Magnus Lütt" userId="a5ce4c93dcdbffd9" providerId="LiveId" clId="{B3489C9D-1254-4145-9CD3-71EFD119BF10}" dt="2021-11-16T14:25:03.879" v="77" actId="1076"/>
          <ac:spMkLst>
            <pc:docMk/>
            <pc:sldMk cId="2725854789" sldId="266"/>
            <ac:spMk id="4" creationId="{00000000-0000-0000-0000-000000000000}"/>
          </ac:spMkLst>
        </pc:spChg>
        <pc:spChg chg="add del mod ord">
          <ac:chgData name="Magnus Lütt" userId="a5ce4c93dcdbffd9" providerId="LiveId" clId="{B3489C9D-1254-4145-9CD3-71EFD119BF10}" dt="2021-11-16T14:23:06.894" v="19" actId="478"/>
          <ac:spMkLst>
            <pc:docMk/>
            <pc:sldMk cId="2725854789" sldId="266"/>
            <ac:spMk id="10" creationId="{1C15C830-0489-4A8F-824E-835DACE59A62}"/>
          </ac:spMkLst>
        </pc:spChg>
        <pc:spChg chg="del">
          <ac:chgData name="Magnus Lütt" userId="a5ce4c93dcdbffd9" providerId="LiveId" clId="{B3489C9D-1254-4145-9CD3-71EFD119BF10}" dt="2021-11-16T14:25:50.674" v="90" actId="478"/>
          <ac:spMkLst>
            <pc:docMk/>
            <pc:sldMk cId="2725854789" sldId="266"/>
            <ac:spMk id="11" creationId="{E61044E5-AD1A-48B2-B455-EEE584597F45}"/>
          </ac:spMkLst>
        </pc:spChg>
        <pc:spChg chg="add del mod">
          <ac:chgData name="Magnus Lütt" userId="a5ce4c93dcdbffd9" providerId="LiveId" clId="{B3489C9D-1254-4145-9CD3-71EFD119BF10}" dt="2021-11-16T14:23:07.495" v="20" actId="478"/>
          <ac:spMkLst>
            <pc:docMk/>
            <pc:sldMk cId="2725854789" sldId="266"/>
            <ac:spMk id="12" creationId="{67163D22-5C05-49CA-A1DA-4A2EFF30E5B9}"/>
          </ac:spMkLst>
        </pc:spChg>
        <pc:spChg chg="add mod ord">
          <ac:chgData name="Magnus Lütt" userId="a5ce4c93dcdbffd9" providerId="LiveId" clId="{B3489C9D-1254-4145-9CD3-71EFD119BF10}" dt="2021-11-16T14:23:19.434" v="25" actId="1076"/>
          <ac:spMkLst>
            <pc:docMk/>
            <pc:sldMk cId="2725854789" sldId="266"/>
            <ac:spMk id="13" creationId="{747B6DF3-87A8-447E-9A25-41D55990261E}"/>
          </ac:spMkLst>
        </pc:spChg>
        <pc:spChg chg="add del">
          <ac:chgData name="Magnus Lütt" userId="a5ce4c93dcdbffd9" providerId="LiveId" clId="{B3489C9D-1254-4145-9CD3-71EFD119BF10}" dt="2021-11-16T14:27:06.537" v="94" actId="478"/>
          <ac:spMkLst>
            <pc:docMk/>
            <pc:sldMk cId="2725854789" sldId="266"/>
            <ac:spMk id="15" creationId="{A330D34B-D467-4229-B8E1-C8E7546FF510}"/>
          </ac:spMkLst>
        </pc:spChg>
        <pc:spChg chg="add mod">
          <ac:chgData name="Magnus Lütt" userId="a5ce4c93dcdbffd9" providerId="LiveId" clId="{B3489C9D-1254-4145-9CD3-71EFD119BF10}" dt="2021-11-16T14:25:51.022" v="91"/>
          <ac:spMkLst>
            <pc:docMk/>
            <pc:sldMk cId="2725854789" sldId="266"/>
            <ac:spMk id="16" creationId="{B5072736-02B3-4894-A9EB-3D534F5BA979}"/>
          </ac:spMkLst>
        </pc:spChg>
        <pc:graphicFrameChg chg="del">
          <ac:chgData name="Magnus Lütt" userId="a5ce4c93dcdbffd9" providerId="LiveId" clId="{B3489C9D-1254-4145-9CD3-71EFD119BF10}" dt="2021-11-16T14:27:06.537" v="94" actId="478"/>
          <ac:graphicFrameMkLst>
            <pc:docMk/>
            <pc:sldMk cId="2725854789" sldId="266"/>
            <ac:graphicFrameMk id="30" creationId="{1321AC62-D5D8-4F21-9E0F-EFA3848B3A7C}"/>
          </ac:graphicFrameMkLst>
        </pc:graphicFrameChg>
        <pc:graphicFrameChg chg="del">
          <ac:chgData name="Magnus Lütt" userId="a5ce4c93dcdbffd9" providerId="LiveId" clId="{B3489C9D-1254-4145-9CD3-71EFD119BF10}" dt="2021-11-16T14:27:06.537" v="94" actId="478"/>
          <ac:graphicFrameMkLst>
            <pc:docMk/>
            <pc:sldMk cId="2725854789" sldId="266"/>
            <ac:graphicFrameMk id="32" creationId="{62696F56-3234-4D4A-95F6-44673CC25DA5}"/>
          </ac:graphicFrameMkLst>
        </pc:graphicFrameChg>
      </pc:sldChg>
      <pc:sldChg chg="del">
        <pc:chgData name="Magnus Lütt" userId="a5ce4c93dcdbffd9" providerId="LiveId" clId="{B3489C9D-1254-4145-9CD3-71EFD119BF10}" dt="2021-11-17T10:43:51.313" v="1789" actId="47"/>
        <pc:sldMkLst>
          <pc:docMk/>
          <pc:sldMk cId="953886576" sldId="267"/>
        </pc:sldMkLst>
      </pc:sldChg>
      <pc:sldChg chg="del">
        <pc:chgData name="Magnus Lütt" userId="a5ce4c93dcdbffd9" providerId="LiveId" clId="{B3489C9D-1254-4145-9CD3-71EFD119BF10}" dt="2021-11-17T10:43:51.313" v="1789" actId="47"/>
        <pc:sldMkLst>
          <pc:docMk/>
          <pc:sldMk cId="168158589" sldId="268"/>
        </pc:sldMkLst>
      </pc:sldChg>
      <pc:sldChg chg="del">
        <pc:chgData name="Magnus Lütt" userId="a5ce4c93dcdbffd9" providerId="LiveId" clId="{B3489C9D-1254-4145-9CD3-71EFD119BF10}" dt="2021-11-17T10:43:51.313" v="1789" actId="47"/>
        <pc:sldMkLst>
          <pc:docMk/>
          <pc:sldMk cId="225413438" sldId="269"/>
        </pc:sldMkLst>
      </pc:sldChg>
      <pc:sldChg chg="modSp del mod">
        <pc:chgData name="Magnus Lütt" userId="a5ce4c93dcdbffd9" providerId="LiveId" clId="{B3489C9D-1254-4145-9CD3-71EFD119BF10}" dt="2021-11-17T10:43:51.313" v="1789" actId="47"/>
        <pc:sldMkLst>
          <pc:docMk/>
          <pc:sldMk cId="3634868385" sldId="271"/>
        </pc:sldMkLst>
        <pc:spChg chg="mod">
          <ac:chgData name="Magnus Lütt" userId="a5ce4c93dcdbffd9" providerId="LiveId" clId="{B3489C9D-1254-4145-9CD3-71EFD119BF10}" dt="2021-11-17T09:55:57.485" v="751" actId="1076"/>
          <ac:spMkLst>
            <pc:docMk/>
            <pc:sldMk cId="3634868385" sldId="271"/>
            <ac:spMk id="19" creationId="{2DBD12A0-78DC-4D03-967C-0332804E58FB}"/>
          </ac:spMkLst>
        </pc:spChg>
      </pc:sldChg>
      <pc:sldChg chg="addSp delSp modSp mod ord">
        <pc:chgData name="Magnus Lütt" userId="a5ce4c93dcdbffd9" providerId="LiveId" clId="{B3489C9D-1254-4145-9CD3-71EFD119BF10}" dt="2021-11-17T10:45:28.739" v="1827" actId="14100"/>
        <pc:sldMkLst>
          <pc:docMk/>
          <pc:sldMk cId="181073336" sldId="272"/>
        </pc:sldMkLst>
        <pc:spChg chg="del">
          <ac:chgData name="Magnus Lütt" userId="a5ce4c93dcdbffd9" providerId="LiveId" clId="{B3489C9D-1254-4145-9CD3-71EFD119BF10}" dt="2021-11-16T14:25:37.812" v="88" actId="478"/>
          <ac:spMkLst>
            <pc:docMk/>
            <pc:sldMk cId="181073336" sldId="272"/>
            <ac:spMk id="2" creationId="{453FA57E-886F-42E3-9ADA-F1E68AE9FB73}"/>
          </ac:spMkLst>
        </pc:spChg>
        <pc:spChg chg="add mod">
          <ac:chgData name="Magnus Lütt" userId="a5ce4c93dcdbffd9" providerId="LiveId" clId="{B3489C9D-1254-4145-9CD3-71EFD119BF10}" dt="2021-11-17T10:44:37.429" v="1810" actId="207"/>
          <ac:spMkLst>
            <pc:docMk/>
            <pc:sldMk cId="181073336" sldId="272"/>
            <ac:spMk id="12" creationId="{B09C5443-B13E-4131-A577-37C19D84313A}"/>
          </ac:spMkLst>
        </pc:spChg>
        <pc:spChg chg="mod">
          <ac:chgData name="Magnus Lütt" userId="a5ce4c93dcdbffd9" providerId="LiveId" clId="{B3489C9D-1254-4145-9CD3-71EFD119BF10}" dt="2021-11-17T10:45:05.266" v="1817" actId="1076"/>
          <ac:spMkLst>
            <pc:docMk/>
            <pc:sldMk cId="181073336" sldId="272"/>
            <ac:spMk id="13" creationId="{22FB99B1-2F9F-453A-8041-DC1FC76D5B17}"/>
          </ac:spMkLst>
        </pc:spChg>
        <pc:spChg chg="mod">
          <ac:chgData name="Magnus Lütt" userId="a5ce4c93dcdbffd9" providerId="LiveId" clId="{B3489C9D-1254-4145-9CD3-71EFD119BF10}" dt="2021-11-17T10:45:05.266" v="1817" actId="1076"/>
          <ac:spMkLst>
            <pc:docMk/>
            <pc:sldMk cId="181073336" sldId="272"/>
            <ac:spMk id="14" creationId="{32D7C16F-9C7A-468A-A9DD-2DD3AD9B157B}"/>
          </ac:spMkLst>
        </pc:spChg>
        <pc:spChg chg="add mod">
          <ac:chgData name="Magnus Lütt" userId="a5ce4c93dcdbffd9" providerId="LiveId" clId="{B3489C9D-1254-4145-9CD3-71EFD119BF10}" dt="2021-11-17T10:44:54.257" v="1816" actId="20577"/>
          <ac:spMkLst>
            <pc:docMk/>
            <pc:sldMk cId="181073336" sldId="272"/>
            <ac:spMk id="15" creationId="{662B9F7B-AF65-4725-85AC-9ED030A6D13A}"/>
          </ac:spMkLst>
        </pc:spChg>
        <pc:spChg chg="del">
          <ac:chgData name="Magnus Lütt" userId="a5ce4c93dcdbffd9" providerId="LiveId" clId="{B3489C9D-1254-4145-9CD3-71EFD119BF10}" dt="2021-11-16T14:25:15.537" v="80" actId="478"/>
          <ac:spMkLst>
            <pc:docMk/>
            <pc:sldMk cId="181073336" sldId="272"/>
            <ac:spMk id="15" creationId="{9E432B01-FF8B-4E82-9FD4-769925D08810}"/>
          </ac:spMkLst>
        </pc:spChg>
        <pc:spChg chg="del mod ord">
          <ac:chgData name="Magnus Lütt" userId="a5ce4c93dcdbffd9" providerId="LiveId" clId="{B3489C9D-1254-4145-9CD3-71EFD119BF10}" dt="2021-11-17T10:44:39.007" v="1811" actId="478"/>
          <ac:spMkLst>
            <pc:docMk/>
            <pc:sldMk cId="181073336" sldId="272"/>
            <ac:spMk id="20" creationId="{D3C5ED89-888D-49CD-9E4C-A8CE8C62669B}"/>
          </ac:spMkLst>
        </pc:spChg>
        <pc:spChg chg="mod">
          <ac:chgData name="Magnus Lütt" userId="a5ce4c93dcdbffd9" providerId="LiveId" clId="{B3489C9D-1254-4145-9CD3-71EFD119BF10}" dt="2021-11-17T10:45:05.266" v="1817" actId="1076"/>
          <ac:spMkLst>
            <pc:docMk/>
            <pc:sldMk cId="181073336" sldId="272"/>
            <ac:spMk id="21" creationId="{B2BA1760-6A64-47B2-8BB3-F326CBA0F0CA}"/>
          </ac:spMkLst>
        </pc:spChg>
        <pc:spChg chg="add mod">
          <ac:chgData name="Magnus Lütt" userId="a5ce4c93dcdbffd9" providerId="LiveId" clId="{B3489C9D-1254-4145-9CD3-71EFD119BF10}" dt="2021-11-16T14:25:38.075" v="89"/>
          <ac:spMkLst>
            <pc:docMk/>
            <pc:sldMk cId="181073336" sldId="272"/>
            <ac:spMk id="22" creationId="{014CFBE1-FAA7-411B-BE73-345314732272}"/>
          </ac:spMkLst>
        </pc:spChg>
        <pc:spChg chg="add mod ord">
          <ac:chgData name="Magnus Lütt" userId="a5ce4c93dcdbffd9" providerId="LiveId" clId="{B3489C9D-1254-4145-9CD3-71EFD119BF10}" dt="2021-11-17T10:45:28.739" v="1827" actId="14100"/>
          <ac:spMkLst>
            <pc:docMk/>
            <pc:sldMk cId="181073336" sldId="272"/>
            <ac:spMk id="23" creationId="{D778740E-EFE8-4E4A-A591-1AD375840DFA}"/>
          </ac:spMkLst>
        </pc:spChg>
        <pc:grpChg chg="del mod">
          <ac:chgData name="Magnus Lütt" userId="a5ce4c93dcdbffd9" providerId="LiveId" clId="{B3489C9D-1254-4145-9CD3-71EFD119BF10}" dt="2021-11-17T10:44:39.469" v="1812" actId="478"/>
          <ac:grpSpMkLst>
            <pc:docMk/>
            <pc:sldMk cId="181073336" sldId="272"/>
            <ac:grpSpMk id="17" creationId="{7DFD9523-958D-44A0-A788-651B957F2729}"/>
          </ac:grpSpMkLst>
        </pc:grpChg>
      </pc:sldChg>
      <pc:sldChg chg="addSp delSp modSp add mod">
        <pc:chgData name="Magnus Lütt" userId="a5ce4c93dcdbffd9" providerId="LiveId" clId="{B3489C9D-1254-4145-9CD3-71EFD119BF10}" dt="2021-11-17T09:58:02.198" v="791" actId="732"/>
        <pc:sldMkLst>
          <pc:docMk/>
          <pc:sldMk cId="801734895" sldId="273"/>
        </pc:sldMkLst>
        <pc:spChg chg="del mod">
          <ac:chgData name="Magnus Lütt" userId="a5ce4c93dcdbffd9" providerId="LiveId" clId="{B3489C9D-1254-4145-9CD3-71EFD119BF10}" dt="2021-11-17T09:30:33.908" v="405" actId="478"/>
          <ac:spMkLst>
            <pc:docMk/>
            <pc:sldMk cId="801734895" sldId="273"/>
            <ac:spMk id="2" creationId="{00000000-0000-0000-0000-000000000000}"/>
          </ac:spMkLst>
        </pc:spChg>
        <pc:spChg chg="mod">
          <ac:chgData name="Magnus Lütt" userId="a5ce4c93dcdbffd9" providerId="LiveId" clId="{B3489C9D-1254-4145-9CD3-71EFD119BF10}" dt="2021-11-17T09:08:27.736" v="169" actId="20577"/>
          <ac:spMkLst>
            <pc:docMk/>
            <pc:sldMk cId="801734895" sldId="273"/>
            <ac:spMk id="4" creationId="{00000000-0000-0000-0000-000000000000}"/>
          </ac:spMkLst>
        </pc:spChg>
        <pc:spChg chg="add mod">
          <ac:chgData name="Magnus Lütt" userId="a5ce4c93dcdbffd9" providerId="LiveId" clId="{B3489C9D-1254-4145-9CD3-71EFD119BF10}" dt="2021-11-17T09:56:45.370" v="774" actId="1076"/>
          <ac:spMkLst>
            <pc:docMk/>
            <pc:sldMk cId="801734895" sldId="273"/>
            <ac:spMk id="7" creationId="{2B7D2D36-6027-490B-ABD2-40BE8A4464D9}"/>
          </ac:spMkLst>
        </pc:spChg>
        <pc:spChg chg="mod">
          <ac:chgData name="Magnus Lütt" userId="a5ce4c93dcdbffd9" providerId="LiveId" clId="{B3489C9D-1254-4145-9CD3-71EFD119BF10}" dt="2021-11-16T14:25:31.638" v="87" actId="20577"/>
          <ac:spMkLst>
            <pc:docMk/>
            <pc:sldMk cId="801734895" sldId="273"/>
            <ac:spMk id="11" creationId="{E61044E5-AD1A-48B2-B455-EEE584597F45}"/>
          </ac:spMkLst>
        </pc:spChg>
        <pc:spChg chg="mod">
          <ac:chgData name="Magnus Lütt" userId="a5ce4c93dcdbffd9" providerId="LiveId" clId="{B3489C9D-1254-4145-9CD3-71EFD119BF10}" dt="2021-11-17T09:07:05.558" v="111"/>
          <ac:spMkLst>
            <pc:docMk/>
            <pc:sldMk cId="801734895" sldId="273"/>
            <ac:spMk id="12" creationId="{130035BE-4256-410C-A796-694B1ED8B348}"/>
          </ac:spMkLst>
        </pc:spChg>
        <pc:spChg chg="del mod">
          <ac:chgData name="Magnus Lütt" userId="a5ce4c93dcdbffd9" providerId="LiveId" clId="{B3489C9D-1254-4145-9CD3-71EFD119BF10}" dt="2021-11-17T09:30:34.408" v="406" actId="478"/>
          <ac:spMkLst>
            <pc:docMk/>
            <pc:sldMk cId="801734895" sldId="273"/>
            <ac:spMk id="13" creationId="{747B6DF3-87A8-447E-9A25-41D55990261E}"/>
          </ac:spMkLst>
        </pc:spChg>
        <pc:spChg chg="mod">
          <ac:chgData name="Magnus Lütt" userId="a5ce4c93dcdbffd9" providerId="LiveId" clId="{B3489C9D-1254-4145-9CD3-71EFD119BF10}" dt="2021-11-17T09:07:05.558" v="111"/>
          <ac:spMkLst>
            <pc:docMk/>
            <pc:sldMk cId="801734895" sldId="273"/>
            <ac:spMk id="15" creationId="{20C39E67-F610-4736-9D6A-BCB6E93A93D7}"/>
          </ac:spMkLst>
        </pc:spChg>
        <pc:spChg chg="del">
          <ac:chgData name="Magnus Lütt" userId="a5ce4c93dcdbffd9" providerId="LiveId" clId="{B3489C9D-1254-4145-9CD3-71EFD119BF10}" dt="2021-11-16T14:27:14.257" v="95" actId="478"/>
          <ac:spMkLst>
            <pc:docMk/>
            <pc:sldMk cId="801734895" sldId="273"/>
            <ac:spMk id="15" creationId="{A330D34B-D467-4229-B8E1-C8E7546FF510}"/>
          </ac:spMkLst>
        </pc:spChg>
        <pc:spChg chg="add del mod">
          <ac:chgData name="Magnus Lütt" userId="a5ce4c93dcdbffd9" providerId="LiveId" clId="{B3489C9D-1254-4145-9CD3-71EFD119BF10}" dt="2021-11-17T09:08:34.658" v="170" actId="478"/>
          <ac:spMkLst>
            <pc:docMk/>
            <pc:sldMk cId="801734895" sldId="273"/>
            <ac:spMk id="16" creationId="{FFCACEA0-75B9-4943-9B29-9DF1F9BAA832}"/>
          </ac:spMkLst>
        </pc:spChg>
        <pc:spChg chg="mod">
          <ac:chgData name="Magnus Lütt" userId="a5ce4c93dcdbffd9" providerId="LiveId" clId="{B3489C9D-1254-4145-9CD3-71EFD119BF10}" dt="2021-11-17T09:07:23.901" v="115"/>
          <ac:spMkLst>
            <pc:docMk/>
            <pc:sldMk cId="801734895" sldId="273"/>
            <ac:spMk id="18" creationId="{4A43259F-CE07-4BF7-B64A-0162A974DAB4}"/>
          </ac:spMkLst>
        </pc:spChg>
        <pc:spChg chg="mod">
          <ac:chgData name="Magnus Lütt" userId="a5ce4c93dcdbffd9" providerId="LiveId" clId="{B3489C9D-1254-4145-9CD3-71EFD119BF10}" dt="2021-11-17T09:07:23.901" v="115"/>
          <ac:spMkLst>
            <pc:docMk/>
            <pc:sldMk cId="801734895" sldId="273"/>
            <ac:spMk id="19" creationId="{76660B9F-9273-493E-A5F1-F483FB6D4AD2}"/>
          </ac:spMkLst>
        </pc:spChg>
        <pc:spChg chg="add mod">
          <ac:chgData name="Magnus Lütt" userId="a5ce4c93dcdbffd9" providerId="LiveId" clId="{B3489C9D-1254-4145-9CD3-71EFD119BF10}" dt="2021-11-17T09:07:29.906" v="131" actId="20577"/>
          <ac:spMkLst>
            <pc:docMk/>
            <pc:sldMk cId="801734895" sldId="273"/>
            <ac:spMk id="20" creationId="{914A22B2-49AF-48AE-A767-9D75030DD0A8}"/>
          </ac:spMkLst>
        </pc:spChg>
        <pc:spChg chg="add mod ord">
          <ac:chgData name="Magnus Lütt" userId="a5ce4c93dcdbffd9" providerId="LiveId" clId="{B3489C9D-1254-4145-9CD3-71EFD119BF10}" dt="2021-11-17T09:30:39.063" v="408" actId="167"/>
          <ac:spMkLst>
            <pc:docMk/>
            <pc:sldMk cId="801734895" sldId="273"/>
            <ac:spMk id="26" creationId="{C0F63C80-696D-4F1F-943C-77A22143821F}"/>
          </ac:spMkLst>
        </pc:spChg>
        <pc:spChg chg="mod">
          <ac:chgData name="Magnus Lütt" userId="a5ce4c93dcdbffd9" providerId="LiveId" clId="{B3489C9D-1254-4145-9CD3-71EFD119BF10}" dt="2021-11-17T09:54:42.128" v="731" actId="20577"/>
          <ac:spMkLst>
            <pc:docMk/>
            <pc:sldMk cId="801734895" sldId="273"/>
            <ac:spMk id="34" creationId="{554F38FF-5779-4B65-9AB8-431BA11D243D}"/>
          </ac:spMkLst>
        </pc:spChg>
        <pc:spChg chg="add del mod">
          <ac:chgData name="Magnus Lütt" userId="a5ce4c93dcdbffd9" providerId="LiveId" clId="{B3489C9D-1254-4145-9CD3-71EFD119BF10}" dt="2021-11-17T09:57:12.004" v="780" actId="478"/>
          <ac:spMkLst>
            <pc:docMk/>
            <pc:sldMk cId="801734895" sldId="273"/>
            <ac:spMk id="38" creationId="{6A201D5E-E853-4119-81FA-A4CB266C4398}"/>
          </ac:spMkLst>
        </pc:spChg>
        <pc:spChg chg="add mod">
          <ac:chgData name="Magnus Lütt" userId="a5ce4c93dcdbffd9" providerId="LiveId" clId="{B3489C9D-1254-4145-9CD3-71EFD119BF10}" dt="2021-11-17T09:57:23.407" v="784" actId="1076"/>
          <ac:spMkLst>
            <pc:docMk/>
            <pc:sldMk cId="801734895" sldId="273"/>
            <ac:spMk id="44" creationId="{CF48B5AE-688D-4787-9B28-C44DE7E4CD3D}"/>
          </ac:spMkLst>
        </pc:spChg>
        <pc:grpChg chg="add mod">
          <ac:chgData name="Magnus Lütt" userId="a5ce4c93dcdbffd9" providerId="LiveId" clId="{B3489C9D-1254-4145-9CD3-71EFD119BF10}" dt="2021-11-17T09:56:35.056" v="761" actId="1076"/>
          <ac:grpSpMkLst>
            <pc:docMk/>
            <pc:sldMk cId="801734895" sldId="273"/>
            <ac:grpSpMk id="6" creationId="{EE584B48-6C46-42F7-85DF-63291DCE31D0}"/>
          </ac:grpSpMkLst>
        </pc:grpChg>
        <pc:grpChg chg="add del mod">
          <ac:chgData name="Magnus Lütt" userId="a5ce4c93dcdbffd9" providerId="LiveId" clId="{B3489C9D-1254-4145-9CD3-71EFD119BF10}" dt="2021-11-17T09:07:17.834" v="114"/>
          <ac:grpSpMkLst>
            <pc:docMk/>
            <pc:sldMk cId="801734895" sldId="273"/>
            <ac:grpSpMk id="10" creationId="{23E76E38-38A4-494F-8633-F10D6B2D4EFB}"/>
          </ac:grpSpMkLst>
        </pc:grpChg>
        <pc:grpChg chg="add mod">
          <ac:chgData name="Magnus Lütt" userId="a5ce4c93dcdbffd9" providerId="LiveId" clId="{B3489C9D-1254-4145-9CD3-71EFD119BF10}" dt="2021-11-17T09:07:23.901" v="115"/>
          <ac:grpSpMkLst>
            <pc:docMk/>
            <pc:sldMk cId="801734895" sldId="273"/>
            <ac:grpSpMk id="17" creationId="{E563B739-0BDA-46C1-873E-CCC87C52CEBC}"/>
          </ac:grpSpMkLst>
        </pc:grpChg>
        <pc:grpChg chg="add del mod">
          <ac:chgData name="Magnus Lütt" userId="a5ce4c93dcdbffd9" providerId="LiveId" clId="{B3489C9D-1254-4145-9CD3-71EFD119BF10}" dt="2021-11-17T09:57:11.161" v="779" actId="478"/>
          <ac:grpSpMkLst>
            <pc:docMk/>
            <pc:sldMk cId="801734895" sldId="273"/>
            <ac:grpSpMk id="31" creationId="{422B01C4-E2DA-4E61-99DE-B3673954EBCD}"/>
          </ac:grpSpMkLst>
        </pc:grpChg>
        <pc:grpChg chg="add mod">
          <ac:chgData name="Magnus Lütt" userId="a5ce4c93dcdbffd9" providerId="LiveId" clId="{B3489C9D-1254-4145-9CD3-71EFD119BF10}" dt="2021-11-17T09:57:23.407" v="784" actId="1076"/>
          <ac:grpSpMkLst>
            <pc:docMk/>
            <pc:sldMk cId="801734895" sldId="273"/>
            <ac:grpSpMk id="39" creationId="{BCC2D97E-CE93-4EC2-8919-C7DE23FB2536}"/>
          </ac:grpSpMkLst>
        </pc:grpChg>
        <pc:graphicFrameChg chg="add mod">
          <ac:chgData name="Magnus Lütt" userId="a5ce4c93dcdbffd9" providerId="LiveId" clId="{B3489C9D-1254-4145-9CD3-71EFD119BF10}" dt="2021-11-17T09:22:16.602" v="176"/>
          <ac:graphicFrameMkLst>
            <pc:docMk/>
            <pc:sldMk cId="801734895" sldId="273"/>
            <ac:graphicFrameMk id="21" creationId="{00000000-0008-0000-0700-000005000000}"/>
          </ac:graphicFrameMkLst>
        </pc:graphicFrameChg>
        <pc:graphicFrameChg chg="add mod">
          <ac:chgData name="Magnus Lütt" userId="a5ce4c93dcdbffd9" providerId="LiveId" clId="{B3489C9D-1254-4145-9CD3-71EFD119BF10}" dt="2021-11-17T09:22:20.960" v="180"/>
          <ac:graphicFrameMkLst>
            <pc:docMk/>
            <pc:sldMk cId="801734895" sldId="273"/>
            <ac:graphicFrameMk id="22" creationId="{00000000-0008-0000-0700-000005000000}"/>
          </ac:graphicFrameMkLst>
        </pc:graphicFrameChg>
        <pc:graphicFrameChg chg="add del mod">
          <ac:chgData name="Magnus Lütt" userId="a5ce4c93dcdbffd9" providerId="LiveId" clId="{B3489C9D-1254-4145-9CD3-71EFD119BF10}" dt="2021-11-17T09:22:34.874" v="184" actId="478"/>
          <ac:graphicFrameMkLst>
            <pc:docMk/>
            <pc:sldMk cId="801734895" sldId="273"/>
            <ac:graphicFrameMk id="23" creationId="{00000000-0008-0000-0700-000005000000}"/>
          </ac:graphicFrameMkLst>
        </pc:graphicFrameChg>
        <pc:graphicFrameChg chg="add mod">
          <ac:chgData name="Magnus Lütt" userId="a5ce4c93dcdbffd9" providerId="LiveId" clId="{B3489C9D-1254-4145-9CD3-71EFD119BF10}" dt="2021-11-17T09:22:37.977" v="186"/>
          <ac:graphicFrameMkLst>
            <pc:docMk/>
            <pc:sldMk cId="801734895" sldId="273"/>
            <ac:graphicFrameMk id="24" creationId="{00000000-0008-0000-0700-000005000000}"/>
          </ac:graphicFrameMkLst>
        </pc:graphicFrameChg>
        <pc:graphicFrameChg chg="add mod">
          <ac:chgData name="Magnus Lütt" userId="a5ce4c93dcdbffd9" providerId="LiveId" clId="{B3489C9D-1254-4145-9CD3-71EFD119BF10}" dt="2021-11-17T09:23:01.844" v="194"/>
          <ac:graphicFrameMkLst>
            <pc:docMk/>
            <pc:sldMk cId="801734895" sldId="273"/>
            <ac:graphicFrameMk id="25" creationId="{00000000-0008-0000-0700-000009000000}"/>
          </ac:graphicFrameMkLst>
        </pc:graphicFrameChg>
        <pc:graphicFrameChg chg="del">
          <ac:chgData name="Magnus Lütt" userId="a5ce4c93dcdbffd9" providerId="LiveId" clId="{B3489C9D-1254-4145-9CD3-71EFD119BF10}" dt="2021-11-16T14:27:14.257" v="95" actId="478"/>
          <ac:graphicFrameMkLst>
            <pc:docMk/>
            <pc:sldMk cId="801734895" sldId="273"/>
            <ac:graphicFrameMk id="30" creationId="{1321AC62-D5D8-4F21-9E0F-EFA3848B3A7C}"/>
          </ac:graphicFrameMkLst>
        </pc:graphicFrameChg>
        <pc:graphicFrameChg chg="del">
          <ac:chgData name="Magnus Lütt" userId="a5ce4c93dcdbffd9" providerId="LiveId" clId="{B3489C9D-1254-4145-9CD3-71EFD119BF10}" dt="2021-11-16T14:27:14.257" v="95" actId="478"/>
          <ac:graphicFrameMkLst>
            <pc:docMk/>
            <pc:sldMk cId="801734895" sldId="273"/>
            <ac:graphicFrameMk id="32" creationId="{62696F56-3234-4D4A-95F6-44673CC25DA5}"/>
          </ac:graphicFrameMkLst>
        </pc:graphicFrameChg>
        <pc:picChg chg="add mod">
          <ac:chgData name="Magnus Lütt" userId="a5ce4c93dcdbffd9" providerId="LiveId" clId="{B3489C9D-1254-4145-9CD3-71EFD119BF10}" dt="2021-11-17T09:25:53.315" v="290" actId="1076"/>
          <ac:picMkLst>
            <pc:docMk/>
            <pc:sldMk cId="801734895" sldId="273"/>
            <ac:picMk id="3" creationId="{909D35D8-05B8-49A1-AD37-AB771B7CF6B6}"/>
          </ac:picMkLst>
        </pc:picChg>
        <pc:picChg chg="add mod modCrop">
          <ac:chgData name="Magnus Lütt" userId="a5ce4c93dcdbffd9" providerId="LiveId" clId="{B3489C9D-1254-4145-9CD3-71EFD119BF10}" dt="2021-11-17T09:58:02.198" v="791" actId="732"/>
          <ac:picMkLst>
            <pc:docMk/>
            <pc:sldMk cId="801734895" sldId="273"/>
            <ac:picMk id="5" creationId="{AAEBF6BC-C458-4EB7-BE6D-1B191B90136B}"/>
          </ac:picMkLst>
        </pc:picChg>
        <pc:cxnChg chg="add mod">
          <ac:chgData name="Magnus Lütt" userId="a5ce4c93dcdbffd9" providerId="LiveId" clId="{B3489C9D-1254-4145-9CD3-71EFD119BF10}" dt="2021-11-17T09:56:15.262" v="754" actId="164"/>
          <ac:cxnSpMkLst>
            <pc:docMk/>
            <pc:sldMk cId="801734895" sldId="273"/>
            <ac:cxnSpMk id="27" creationId="{3319567D-A4BE-4D5A-ADA8-973B84ECFAAB}"/>
          </ac:cxnSpMkLst>
        </pc:cxnChg>
        <pc:cxnChg chg="add mod">
          <ac:chgData name="Magnus Lütt" userId="a5ce4c93dcdbffd9" providerId="LiveId" clId="{B3489C9D-1254-4145-9CD3-71EFD119BF10}" dt="2021-11-17T09:56:15.262" v="754" actId="164"/>
          <ac:cxnSpMkLst>
            <pc:docMk/>
            <pc:sldMk cId="801734895" sldId="273"/>
            <ac:cxnSpMk id="28" creationId="{A9305DCB-328B-408C-A817-B3ACB7B36469}"/>
          </ac:cxnSpMkLst>
        </pc:cxnChg>
        <pc:cxnChg chg="add mod">
          <ac:chgData name="Magnus Lütt" userId="a5ce4c93dcdbffd9" providerId="LiveId" clId="{B3489C9D-1254-4145-9CD3-71EFD119BF10}" dt="2021-11-17T09:56:15.262" v="754" actId="164"/>
          <ac:cxnSpMkLst>
            <pc:docMk/>
            <pc:sldMk cId="801734895" sldId="273"/>
            <ac:cxnSpMk id="29" creationId="{B9081622-864B-4BD9-8633-D1F63CE373AA}"/>
          </ac:cxnSpMkLst>
        </pc:cxnChg>
        <pc:cxnChg chg="add mod">
          <ac:chgData name="Magnus Lütt" userId="a5ce4c93dcdbffd9" providerId="LiveId" clId="{B3489C9D-1254-4145-9CD3-71EFD119BF10}" dt="2021-11-17T09:56:15.262" v="754" actId="164"/>
          <ac:cxnSpMkLst>
            <pc:docMk/>
            <pc:sldMk cId="801734895" sldId="273"/>
            <ac:cxnSpMk id="30" creationId="{C07FCBA4-AFC9-4BAA-BCD5-6A6656FDA576}"/>
          </ac:cxnSpMkLst>
        </pc:cxnChg>
        <pc:cxnChg chg="mod">
          <ac:chgData name="Magnus Lütt" userId="a5ce4c93dcdbffd9" providerId="LiveId" clId="{B3489C9D-1254-4145-9CD3-71EFD119BF10}" dt="2021-11-17T09:56:49.166" v="775"/>
          <ac:cxnSpMkLst>
            <pc:docMk/>
            <pc:sldMk cId="801734895" sldId="273"/>
            <ac:cxnSpMk id="32" creationId="{9C20B2AC-75B7-4CD7-A67B-485E456E8781}"/>
          </ac:cxnSpMkLst>
        </pc:cxnChg>
        <pc:cxnChg chg="mod">
          <ac:chgData name="Magnus Lütt" userId="a5ce4c93dcdbffd9" providerId="LiveId" clId="{B3489C9D-1254-4145-9CD3-71EFD119BF10}" dt="2021-11-17T09:56:49.166" v="775"/>
          <ac:cxnSpMkLst>
            <pc:docMk/>
            <pc:sldMk cId="801734895" sldId="273"/>
            <ac:cxnSpMk id="35" creationId="{CEFE82B5-1A18-4E0A-A680-6CA7D396EDFE}"/>
          </ac:cxnSpMkLst>
        </pc:cxnChg>
        <pc:cxnChg chg="mod">
          <ac:chgData name="Magnus Lütt" userId="a5ce4c93dcdbffd9" providerId="LiveId" clId="{B3489C9D-1254-4145-9CD3-71EFD119BF10}" dt="2021-11-17T09:56:49.166" v="775"/>
          <ac:cxnSpMkLst>
            <pc:docMk/>
            <pc:sldMk cId="801734895" sldId="273"/>
            <ac:cxnSpMk id="36" creationId="{9DD01EB6-854A-4965-A073-BCE7E3D26A72}"/>
          </ac:cxnSpMkLst>
        </pc:cxnChg>
        <pc:cxnChg chg="mod">
          <ac:chgData name="Magnus Lütt" userId="a5ce4c93dcdbffd9" providerId="LiveId" clId="{B3489C9D-1254-4145-9CD3-71EFD119BF10}" dt="2021-11-17T09:56:49.166" v="775"/>
          <ac:cxnSpMkLst>
            <pc:docMk/>
            <pc:sldMk cId="801734895" sldId="273"/>
            <ac:cxnSpMk id="37" creationId="{AD815978-CFCF-4891-AC3A-13B47E4BE189}"/>
          </ac:cxnSpMkLst>
        </pc:cxnChg>
        <pc:cxnChg chg="mod">
          <ac:chgData name="Magnus Lütt" userId="a5ce4c93dcdbffd9" providerId="LiveId" clId="{B3489C9D-1254-4145-9CD3-71EFD119BF10}" dt="2021-11-17T09:57:16.691" v="781"/>
          <ac:cxnSpMkLst>
            <pc:docMk/>
            <pc:sldMk cId="801734895" sldId="273"/>
            <ac:cxnSpMk id="40" creationId="{08439F2C-47B0-4F98-A251-6B6CE9E31F80}"/>
          </ac:cxnSpMkLst>
        </pc:cxnChg>
        <pc:cxnChg chg="mod">
          <ac:chgData name="Magnus Lütt" userId="a5ce4c93dcdbffd9" providerId="LiveId" clId="{B3489C9D-1254-4145-9CD3-71EFD119BF10}" dt="2021-11-17T09:57:16.691" v="781"/>
          <ac:cxnSpMkLst>
            <pc:docMk/>
            <pc:sldMk cId="801734895" sldId="273"/>
            <ac:cxnSpMk id="41" creationId="{07182D5C-F331-40D5-A90F-5EDB97E13232}"/>
          </ac:cxnSpMkLst>
        </pc:cxnChg>
        <pc:cxnChg chg="mod">
          <ac:chgData name="Magnus Lütt" userId="a5ce4c93dcdbffd9" providerId="LiveId" clId="{B3489C9D-1254-4145-9CD3-71EFD119BF10}" dt="2021-11-17T09:57:16.691" v="781"/>
          <ac:cxnSpMkLst>
            <pc:docMk/>
            <pc:sldMk cId="801734895" sldId="273"/>
            <ac:cxnSpMk id="42" creationId="{ADEA8FDF-7BE5-4D5C-892B-50A1104AA84B}"/>
          </ac:cxnSpMkLst>
        </pc:cxnChg>
        <pc:cxnChg chg="mod">
          <ac:chgData name="Magnus Lütt" userId="a5ce4c93dcdbffd9" providerId="LiveId" clId="{B3489C9D-1254-4145-9CD3-71EFD119BF10}" dt="2021-11-17T09:57:16.691" v="781"/>
          <ac:cxnSpMkLst>
            <pc:docMk/>
            <pc:sldMk cId="801734895" sldId="273"/>
            <ac:cxnSpMk id="43" creationId="{DD6C2E11-7A23-4618-B89A-5DFE17E58597}"/>
          </ac:cxnSpMkLst>
        </pc:cxnChg>
      </pc:sldChg>
      <pc:sldChg chg="modSp add del mod">
        <pc:chgData name="Magnus Lütt" userId="a5ce4c93dcdbffd9" providerId="LiveId" clId="{B3489C9D-1254-4145-9CD3-71EFD119BF10}" dt="2021-11-17T10:43:51.313" v="1789" actId="47"/>
        <pc:sldMkLst>
          <pc:docMk/>
          <pc:sldMk cId="1153926182" sldId="274"/>
        </pc:sldMkLst>
        <pc:spChg chg="mod">
          <ac:chgData name="Magnus Lütt" userId="a5ce4c93dcdbffd9" providerId="LiveId" clId="{B3489C9D-1254-4145-9CD3-71EFD119BF10}" dt="2021-11-16T14:27:34.105" v="108" actId="20577"/>
          <ac:spMkLst>
            <pc:docMk/>
            <pc:sldMk cId="1153926182" sldId="274"/>
            <ac:spMk id="4" creationId="{00000000-0000-0000-0000-000000000000}"/>
          </ac:spMkLst>
        </pc:spChg>
      </pc:sldChg>
      <pc:sldChg chg="add del ord">
        <pc:chgData name="Magnus Lütt" userId="a5ce4c93dcdbffd9" providerId="LiveId" clId="{B3489C9D-1254-4145-9CD3-71EFD119BF10}" dt="2021-11-17T10:43:51.313" v="1789" actId="47"/>
        <pc:sldMkLst>
          <pc:docMk/>
          <pc:sldMk cId="66322118" sldId="275"/>
        </pc:sldMkLst>
      </pc:sldChg>
      <pc:sldChg chg="add del">
        <pc:chgData name="Magnus Lütt" userId="a5ce4c93dcdbffd9" providerId="LiveId" clId="{B3489C9D-1254-4145-9CD3-71EFD119BF10}" dt="2021-11-17T09:26:03.436" v="292" actId="47"/>
        <pc:sldMkLst>
          <pc:docMk/>
          <pc:sldMk cId="4112368886" sldId="276"/>
        </pc:sldMkLst>
      </pc:sldChg>
      <pc:sldChg chg="addSp delSp modSp add mod">
        <pc:chgData name="Magnus Lütt" userId="a5ce4c93dcdbffd9" providerId="LiveId" clId="{B3489C9D-1254-4145-9CD3-71EFD119BF10}" dt="2021-11-17T10:41:24.945" v="1715" actId="20577"/>
        <pc:sldMkLst>
          <pc:docMk/>
          <pc:sldMk cId="3351464345" sldId="277"/>
        </pc:sldMkLst>
        <pc:spChg chg="del">
          <ac:chgData name="Magnus Lütt" userId="a5ce4c93dcdbffd9" providerId="LiveId" clId="{B3489C9D-1254-4145-9CD3-71EFD119BF10}" dt="2021-11-17T09:30:08.678" v="392" actId="478"/>
          <ac:spMkLst>
            <pc:docMk/>
            <pc:sldMk cId="3351464345" sldId="277"/>
            <ac:spMk id="2" creationId="{00000000-0000-0000-0000-000000000000}"/>
          </ac:spMkLst>
        </pc:spChg>
        <pc:spChg chg="del">
          <ac:chgData name="Magnus Lütt" userId="a5ce4c93dcdbffd9" providerId="LiveId" clId="{B3489C9D-1254-4145-9CD3-71EFD119BF10}" dt="2021-11-17T09:30:09.084" v="393" actId="478"/>
          <ac:spMkLst>
            <pc:docMk/>
            <pc:sldMk cId="3351464345" sldId="277"/>
            <ac:spMk id="13" creationId="{747B6DF3-87A8-447E-9A25-41D55990261E}"/>
          </ac:spMkLst>
        </pc:spChg>
        <pc:spChg chg="mod">
          <ac:chgData name="Magnus Lütt" userId="a5ce4c93dcdbffd9" providerId="LiveId" clId="{B3489C9D-1254-4145-9CD3-71EFD119BF10}" dt="2021-11-17T09:26:14.032" v="310" actId="20577"/>
          <ac:spMkLst>
            <pc:docMk/>
            <pc:sldMk cId="3351464345" sldId="277"/>
            <ac:spMk id="20" creationId="{914A22B2-49AF-48AE-A767-9D75030DD0A8}"/>
          </ac:spMkLst>
        </pc:spChg>
        <pc:spChg chg="add del mod ord">
          <ac:chgData name="Magnus Lütt" userId="a5ce4c93dcdbffd9" providerId="LiveId" clId="{B3489C9D-1254-4145-9CD3-71EFD119BF10}" dt="2021-11-17T09:30:19.943" v="398" actId="14100"/>
          <ac:spMkLst>
            <pc:docMk/>
            <pc:sldMk cId="3351464345" sldId="277"/>
            <ac:spMk id="22" creationId="{043B1392-C187-4738-85CA-8F484478B21A}"/>
          </ac:spMkLst>
        </pc:spChg>
        <pc:spChg chg="add del mod">
          <ac:chgData name="Magnus Lütt" userId="a5ce4c93dcdbffd9" providerId="LiveId" clId="{B3489C9D-1254-4145-9CD3-71EFD119BF10}" dt="2021-11-17T10:30:10.816" v="1144" actId="478"/>
          <ac:spMkLst>
            <pc:docMk/>
            <pc:sldMk cId="3351464345" sldId="277"/>
            <ac:spMk id="23" creationId="{6F2B1253-D8B2-4013-8DDF-61FBE749CBFA}"/>
          </ac:spMkLst>
        </pc:spChg>
        <pc:spChg chg="add del mod">
          <ac:chgData name="Magnus Lütt" userId="a5ce4c93dcdbffd9" providerId="LiveId" clId="{B3489C9D-1254-4145-9CD3-71EFD119BF10}" dt="2021-11-17T10:30:16.347" v="1147" actId="478"/>
          <ac:spMkLst>
            <pc:docMk/>
            <pc:sldMk cId="3351464345" sldId="277"/>
            <ac:spMk id="24" creationId="{316CE322-CDA9-4E82-99B8-5999383C1A5E}"/>
          </ac:spMkLst>
        </pc:spChg>
        <pc:spChg chg="add del mod">
          <ac:chgData name="Magnus Lütt" userId="a5ce4c93dcdbffd9" providerId="LiveId" clId="{B3489C9D-1254-4145-9CD3-71EFD119BF10}" dt="2021-11-17T10:29:56.546" v="1139" actId="478"/>
          <ac:spMkLst>
            <pc:docMk/>
            <pc:sldMk cId="3351464345" sldId="277"/>
            <ac:spMk id="25" creationId="{F71B6108-53F3-42C5-891B-7109099A748A}"/>
          </ac:spMkLst>
        </pc:spChg>
        <pc:spChg chg="add mod">
          <ac:chgData name="Magnus Lütt" userId="a5ce4c93dcdbffd9" providerId="LiveId" clId="{B3489C9D-1254-4145-9CD3-71EFD119BF10}" dt="2021-11-17T10:30:51.454" v="1162" actId="1076"/>
          <ac:spMkLst>
            <pc:docMk/>
            <pc:sldMk cId="3351464345" sldId="277"/>
            <ac:spMk id="26" creationId="{C26C2189-A836-4E78-B02D-939115E4E44D}"/>
          </ac:spMkLst>
        </pc:spChg>
        <pc:spChg chg="mod">
          <ac:chgData name="Magnus Lütt" userId="a5ce4c93dcdbffd9" providerId="LiveId" clId="{B3489C9D-1254-4145-9CD3-71EFD119BF10}" dt="2021-11-17T10:30:19.732" v="1148" actId="1076"/>
          <ac:spMkLst>
            <pc:docMk/>
            <pc:sldMk cId="3351464345" sldId="277"/>
            <ac:spMk id="33" creationId="{4D70A02C-56A4-4411-932D-30B4F49234A0}"/>
          </ac:spMkLst>
        </pc:spChg>
        <pc:spChg chg="mod">
          <ac:chgData name="Magnus Lütt" userId="a5ce4c93dcdbffd9" providerId="LiveId" clId="{B3489C9D-1254-4145-9CD3-71EFD119BF10}" dt="2021-11-17T10:41:24.945" v="1715" actId="20577"/>
          <ac:spMkLst>
            <pc:docMk/>
            <pc:sldMk cId="3351464345" sldId="277"/>
            <ac:spMk id="34" creationId="{554F38FF-5779-4B65-9AB8-431BA11D243D}"/>
          </ac:spMkLst>
        </pc:spChg>
        <pc:graphicFrameChg chg="add mod">
          <ac:chgData name="Magnus Lütt" userId="a5ce4c93dcdbffd9" providerId="LiveId" clId="{B3489C9D-1254-4145-9CD3-71EFD119BF10}" dt="2021-11-17T09:26:37.609" v="312"/>
          <ac:graphicFrameMkLst>
            <pc:docMk/>
            <pc:sldMk cId="3351464345" sldId="277"/>
            <ac:graphicFrameMk id="15" creationId="{00000000-0008-0000-0700-000007000000}"/>
          </ac:graphicFrameMkLst>
        </pc:graphicFrameChg>
        <pc:graphicFrameChg chg="add mod">
          <ac:chgData name="Magnus Lütt" userId="a5ce4c93dcdbffd9" providerId="LiveId" clId="{B3489C9D-1254-4145-9CD3-71EFD119BF10}" dt="2021-11-17T09:26:53.785" v="319"/>
          <ac:graphicFrameMkLst>
            <pc:docMk/>
            <pc:sldMk cId="3351464345" sldId="277"/>
            <ac:graphicFrameMk id="21" creationId="{00000000-0008-0000-0700-000008000000}"/>
          </ac:graphicFrameMkLst>
        </pc:graphicFrameChg>
        <pc:graphicFrameChg chg="add mod">
          <ac:chgData name="Magnus Lütt" userId="a5ce4c93dcdbffd9" providerId="LiveId" clId="{B3489C9D-1254-4145-9CD3-71EFD119BF10}" dt="2021-11-17T10:34:11.761" v="1203"/>
          <ac:graphicFrameMkLst>
            <pc:docMk/>
            <pc:sldMk cId="3351464345" sldId="277"/>
            <ac:graphicFrameMk id="27" creationId="{00000000-0008-0000-0700-000007000000}"/>
          </ac:graphicFrameMkLst>
        </pc:graphicFrameChg>
        <pc:graphicFrameChg chg="add mod">
          <ac:chgData name="Magnus Lütt" userId="a5ce4c93dcdbffd9" providerId="LiveId" clId="{B3489C9D-1254-4145-9CD3-71EFD119BF10}" dt="2021-11-17T10:34:30.946" v="1211"/>
          <ac:graphicFrameMkLst>
            <pc:docMk/>
            <pc:sldMk cId="3351464345" sldId="277"/>
            <ac:graphicFrameMk id="28" creationId="{00000000-0008-0000-0700-000008000000}"/>
          </ac:graphicFrameMkLst>
        </pc:graphicFrameChg>
        <pc:picChg chg="del">
          <ac:chgData name="Magnus Lütt" userId="a5ce4c93dcdbffd9" providerId="LiveId" clId="{B3489C9D-1254-4145-9CD3-71EFD119BF10}" dt="2021-11-17T09:26:47.173" v="317" actId="478"/>
          <ac:picMkLst>
            <pc:docMk/>
            <pc:sldMk cId="3351464345" sldId="277"/>
            <ac:picMk id="3" creationId="{909D35D8-05B8-49A1-AD37-AB771B7CF6B6}"/>
          </ac:picMkLst>
        </pc:picChg>
        <pc:picChg chg="del">
          <ac:chgData name="Magnus Lütt" userId="a5ce4c93dcdbffd9" providerId="LiveId" clId="{B3489C9D-1254-4145-9CD3-71EFD119BF10}" dt="2021-11-17T09:27:02.903" v="325" actId="478"/>
          <ac:picMkLst>
            <pc:docMk/>
            <pc:sldMk cId="3351464345" sldId="277"/>
            <ac:picMk id="5" creationId="{AAEBF6BC-C458-4EB7-BE6D-1B191B90136B}"/>
          </ac:picMkLst>
        </pc:picChg>
        <pc:picChg chg="add del mod">
          <ac:chgData name="Magnus Lütt" userId="a5ce4c93dcdbffd9" providerId="LiveId" clId="{B3489C9D-1254-4145-9CD3-71EFD119BF10}" dt="2021-11-17T10:34:17.899" v="1208" actId="478"/>
          <ac:picMkLst>
            <pc:docMk/>
            <pc:sldMk cId="3351464345" sldId="277"/>
            <ac:picMk id="6" creationId="{78BD5E47-A430-4CFC-933A-A3DF26D5F111}"/>
          </ac:picMkLst>
        </pc:picChg>
        <pc:picChg chg="add del mod">
          <ac:chgData name="Magnus Lütt" userId="a5ce4c93dcdbffd9" providerId="LiveId" clId="{B3489C9D-1254-4145-9CD3-71EFD119BF10}" dt="2021-11-17T10:34:35.602" v="1215" actId="478"/>
          <ac:picMkLst>
            <pc:docMk/>
            <pc:sldMk cId="3351464345" sldId="277"/>
            <ac:picMk id="7" creationId="{8A52AE96-B6AA-4F25-B9BB-B416ED6FE9B6}"/>
          </ac:picMkLst>
        </pc:picChg>
        <pc:picChg chg="add mod">
          <ac:chgData name="Magnus Lütt" userId="a5ce4c93dcdbffd9" providerId="LiveId" clId="{B3489C9D-1254-4145-9CD3-71EFD119BF10}" dt="2021-11-17T10:34:23.038" v="1209" actId="1076"/>
          <ac:picMkLst>
            <pc:docMk/>
            <pc:sldMk cId="3351464345" sldId="277"/>
            <ac:picMk id="8" creationId="{AECF985C-5933-41E6-96FC-806C2738189F}"/>
          </ac:picMkLst>
        </pc:picChg>
        <pc:picChg chg="add mod">
          <ac:chgData name="Magnus Lütt" userId="a5ce4c93dcdbffd9" providerId="LiveId" clId="{B3489C9D-1254-4145-9CD3-71EFD119BF10}" dt="2021-11-17T10:34:38.055" v="1216" actId="1076"/>
          <ac:picMkLst>
            <pc:docMk/>
            <pc:sldMk cId="3351464345" sldId="277"/>
            <ac:picMk id="9" creationId="{C097B1D1-C389-49FD-8BD3-538DE934B56B}"/>
          </ac:picMkLst>
        </pc:picChg>
      </pc:sldChg>
      <pc:sldChg chg="addSp delSp modSp add mod">
        <pc:chgData name="Magnus Lütt" userId="a5ce4c93dcdbffd9" providerId="LiveId" clId="{B3489C9D-1254-4145-9CD3-71EFD119BF10}" dt="2021-11-17T10:13:41.307" v="986" actId="20577"/>
        <pc:sldMkLst>
          <pc:docMk/>
          <pc:sldMk cId="117940166" sldId="278"/>
        </pc:sldMkLst>
        <pc:spChg chg="del">
          <ac:chgData name="Magnus Lütt" userId="a5ce4c93dcdbffd9" providerId="LiveId" clId="{B3489C9D-1254-4145-9CD3-71EFD119BF10}" dt="2021-11-17T09:29:02.722" v="359" actId="478"/>
          <ac:spMkLst>
            <pc:docMk/>
            <pc:sldMk cId="117940166" sldId="278"/>
            <ac:spMk id="2" creationId="{00000000-0000-0000-0000-000000000000}"/>
          </ac:spMkLst>
        </pc:spChg>
        <pc:spChg chg="mod">
          <ac:chgData name="Magnus Lütt" userId="a5ce4c93dcdbffd9" providerId="LiveId" clId="{B3489C9D-1254-4145-9CD3-71EFD119BF10}" dt="2021-11-17T09:27:40.471" v="335" actId="20577"/>
          <ac:spMkLst>
            <pc:docMk/>
            <pc:sldMk cId="117940166" sldId="278"/>
            <ac:spMk id="4" creationId="{00000000-0000-0000-0000-000000000000}"/>
          </ac:spMkLst>
        </pc:spChg>
        <pc:spChg chg="add mod">
          <ac:chgData name="Magnus Lütt" userId="a5ce4c93dcdbffd9" providerId="LiveId" clId="{B3489C9D-1254-4145-9CD3-71EFD119BF10}" dt="2021-11-17T10:11:28.243" v="927" actId="1076"/>
          <ac:spMkLst>
            <pc:docMk/>
            <pc:sldMk cId="117940166" sldId="278"/>
            <ac:spMk id="10" creationId="{A777F0A5-7454-414C-B269-AEAE04E3C5CA}"/>
          </ac:spMkLst>
        </pc:spChg>
        <pc:spChg chg="del mod">
          <ac:chgData name="Magnus Lütt" userId="a5ce4c93dcdbffd9" providerId="LiveId" clId="{B3489C9D-1254-4145-9CD3-71EFD119BF10}" dt="2021-11-17T09:30:23.333" v="399" actId="478"/>
          <ac:spMkLst>
            <pc:docMk/>
            <pc:sldMk cId="117940166" sldId="278"/>
            <ac:spMk id="13" creationId="{747B6DF3-87A8-447E-9A25-41D55990261E}"/>
          </ac:spMkLst>
        </pc:spChg>
        <pc:spChg chg="del mod">
          <ac:chgData name="Magnus Lütt" userId="a5ce4c93dcdbffd9" providerId="LiveId" clId="{B3489C9D-1254-4145-9CD3-71EFD119BF10}" dt="2021-11-17T10:05:25.544" v="821" actId="478"/>
          <ac:spMkLst>
            <pc:docMk/>
            <pc:sldMk cId="117940166" sldId="278"/>
            <ac:spMk id="20" creationId="{914A22B2-49AF-48AE-A767-9D75030DD0A8}"/>
          </ac:spMkLst>
        </pc:spChg>
        <pc:spChg chg="add mod ord">
          <ac:chgData name="Magnus Lütt" userId="a5ce4c93dcdbffd9" providerId="LiveId" clId="{B3489C9D-1254-4145-9CD3-71EFD119BF10}" dt="2021-11-17T09:30:25.530" v="401" actId="167"/>
          <ac:spMkLst>
            <pc:docMk/>
            <pc:sldMk cId="117940166" sldId="278"/>
            <ac:spMk id="22" creationId="{9D57AE58-CFB1-44BF-929E-829210F20486}"/>
          </ac:spMkLst>
        </pc:spChg>
        <pc:spChg chg="add del mod">
          <ac:chgData name="Magnus Lütt" userId="a5ce4c93dcdbffd9" providerId="LiveId" clId="{B3489C9D-1254-4145-9CD3-71EFD119BF10}" dt="2021-11-17T10:11:05.807" v="920" actId="478"/>
          <ac:spMkLst>
            <pc:docMk/>
            <pc:sldMk cId="117940166" sldId="278"/>
            <ac:spMk id="32" creationId="{EBBF6C26-4134-42F9-BAEC-A06B9348CB39}"/>
          </ac:spMkLst>
        </pc:spChg>
        <pc:spChg chg="mod">
          <ac:chgData name="Magnus Lütt" userId="a5ce4c93dcdbffd9" providerId="LiveId" clId="{B3489C9D-1254-4145-9CD3-71EFD119BF10}" dt="2021-11-17T10:13:41.307" v="986" actId="20577"/>
          <ac:spMkLst>
            <pc:docMk/>
            <pc:sldMk cId="117940166" sldId="278"/>
            <ac:spMk id="34" creationId="{554F38FF-5779-4B65-9AB8-431BA11D243D}"/>
          </ac:spMkLst>
        </pc:spChg>
        <pc:spChg chg="add del mod">
          <ac:chgData name="Magnus Lütt" userId="a5ce4c93dcdbffd9" providerId="LiveId" clId="{B3489C9D-1254-4145-9CD3-71EFD119BF10}" dt="2021-11-17T10:11:19.262" v="924" actId="478"/>
          <ac:spMkLst>
            <pc:docMk/>
            <pc:sldMk cId="117940166" sldId="278"/>
            <ac:spMk id="37" creationId="{59258FFC-4046-445E-B9D9-7C821803A0B7}"/>
          </ac:spMkLst>
        </pc:spChg>
        <pc:grpChg chg="del">
          <ac:chgData name="Magnus Lütt" userId="a5ce4c93dcdbffd9" providerId="LiveId" clId="{B3489C9D-1254-4145-9CD3-71EFD119BF10}" dt="2021-11-17T09:28:55.005" v="357" actId="478"/>
          <ac:grpSpMkLst>
            <pc:docMk/>
            <pc:sldMk cId="117940166" sldId="278"/>
            <ac:grpSpMk id="17" creationId="{E563B739-0BDA-46C1-873E-CCC87C52CEBC}"/>
          </ac:grpSpMkLst>
        </pc:grpChg>
        <pc:grpChg chg="add del mod">
          <ac:chgData name="Magnus Lütt" userId="a5ce4c93dcdbffd9" providerId="LiveId" clId="{B3489C9D-1254-4145-9CD3-71EFD119BF10}" dt="2021-11-17T10:11:21.462" v="925" actId="478"/>
          <ac:grpSpMkLst>
            <pc:docMk/>
            <pc:sldMk cId="117940166" sldId="278"/>
            <ac:grpSpMk id="26" creationId="{8FD3AF14-D82D-4730-A352-A93C4EDDEC60}"/>
          </ac:grpSpMkLst>
        </pc:grpChg>
        <pc:graphicFrameChg chg="add mod">
          <ac:chgData name="Magnus Lütt" userId="a5ce4c93dcdbffd9" providerId="LiveId" clId="{B3489C9D-1254-4145-9CD3-71EFD119BF10}" dt="2021-11-17T09:27:53.300" v="339"/>
          <ac:graphicFrameMkLst>
            <pc:docMk/>
            <pc:sldMk cId="117940166" sldId="278"/>
            <ac:graphicFrameMk id="15" creationId="{00000000-0008-0000-0700-00000A000000}"/>
          </ac:graphicFrameMkLst>
        </pc:graphicFrameChg>
        <pc:graphicFrameChg chg="add mod">
          <ac:chgData name="Magnus Lütt" userId="a5ce4c93dcdbffd9" providerId="LiveId" clId="{B3489C9D-1254-4145-9CD3-71EFD119BF10}" dt="2021-11-17T09:28:07.422" v="345"/>
          <ac:graphicFrameMkLst>
            <pc:docMk/>
            <pc:sldMk cId="117940166" sldId="278"/>
            <ac:graphicFrameMk id="21" creationId="{00000000-0008-0000-0700-00000B000000}"/>
          </ac:graphicFrameMkLst>
        </pc:graphicFrameChg>
        <pc:graphicFrameChg chg="add mod">
          <ac:chgData name="Magnus Lütt" userId="a5ce4c93dcdbffd9" providerId="LiveId" clId="{B3489C9D-1254-4145-9CD3-71EFD119BF10}" dt="2021-11-17T09:33:53.196" v="540"/>
          <ac:graphicFrameMkLst>
            <pc:docMk/>
            <pc:sldMk cId="117940166" sldId="278"/>
            <ac:graphicFrameMk id="23" creationId="{00000000-0008-0000-0700-00000A000000}"/>
          </ac:graphicFrameMkLst>
        </pc:graphicFrameChg>
        <pc:graphicFrameChg chg="add mod">
          <ac:chgData name="Magnus Lütt" userId="a5ce4c93dcdbffd9" providerId="LiveId" clId="{B3489C9D-1254-4145-9CD3-71EFD119BF10}" dt="2021-11-17T09:34:01.795" v="545"/>
          <ac:graphicFrameMkLst>
            <pc:docMk/>
            <pc:sldMk cId="117940166" sldId="278"/>
            <ac:graphicFrameMk id="24" creationId="{00000000-0008-0000-0700-00000B000000}"/>
          </ac:graphicFrameMkLst>
        </pc:graphicFrameChg>
        <pc:picChg chg="add del mod">
          <ac:chgData name="Magnus Lütt" userId="a5ce4c93dcdbffd9" providerId="LiveId" clId="{B3489C9D-1254-4145-9CD3-71EFD119BF10}" dt="2021-11-17T09:33:50.757" v="538" actId="478"/>
          <ac:picMkLst>
            <pc:docMk/>
            <pc:sldMk cId="117940166" sldId="278"/>
            <ac:picMk id="3" creationId="{AAA2D6EB-DED1-40C5-BDDF-11DCC2A8E9EA}"/>
          </ac:picMkLst>
        </pc:picChg>
        <pc:picChg chg="add del mod">
          <ac:chgData name="Magnus Lütt" userId="a5ce4c93dcdbffd9" providerId="LiveId" clId="{B3489C9D-1254-4145-9CD3-71EFD119BF10}" dt="2021-11-17T09:33:55.836" v="543" actId="478"/>
          <ac:picMkLst>
            <pc:docMk/>
            <pc:sldMk cId="117940166" sldId="278"/>
            <ac:picMk id="5" creationId="{0F61FC1A-2D85-4CBE-A7E3-C127566FA24A}"/>
          </ac:picMkLst>
        </pc:picChg>
        <pc:picChg chg="del">
          <ac:chgData name="Magnus Lütt" userId="a5ce4c93dcdbffd9" providerId="LiveId" clId="{B3489C9D-1254-4145-9CD3-71EFD119BF10}" dt="2021-11-17T09:29:21.531" v="363" actId="478"/>
          <ac:picMkLst>
            <pc:docMk/>
            <pc:sldMk cId="117940166" sldId="278"/>
            <ac:picMk id="6" creationId="{78BD5E47-A430-4CFC-933A-A3DF26D5F111}"/>
          </ac:picMkLst>
        </pc:picChg>
        <pc:picChg chg="del">
          <ac:chgData name="Magnus Lütt" userId="a5ce4c93dcdbffd9" providerId="LiveId" clId="{B3489C9D-1254-4145-9CD3-71EFD119BF10}" dt="2021-11-17T09:28:38.368" v="355" actId="478"/>
          <ac:picMkLst>
            <pc:docMk/>
            <pc:sldMk cId="117940166" sldId="278"/>
            <ac:picMk id="7" creationId="{8A52AE96-B6AA-4F25-B9BB-B416ED6FE9B6}"/>
          </ac:picMkLst>
        </pc:picChg>
        <pc:picChg chg="add mod">
          <ac:chgData name="Magnus Lütt" userId="a5ce4c93dcdbffd9" providerId="LiveId" clId="{B3489C9D-1254-4145-9CD3-71EFD119BF10}" dt="2021-11-17T10:11:25.228" v="926" actId="1076"/>
          <ac:picMkLst>
            <pc:docMk/>
            <pc:sldMk cId="117940166" sldId="278"/>
            <ac:picMk id="8" creationId="{A251614A-AB7C-4BA2-9FE3-4CBF5A40381F}"/>
          </ac:picMkLst>
        </pc:picChg>
        <pc:picChg chg="add mod">
          <ac:chgData name="Magnus Lütt" userId="a5ce4c93dcdbffd9" providerId="LiveId" clId="{B3489C9D-1254-4145-9CD3-71EFD119BF10}" dt="2021-11-17T10:11:25.228" v="926" actId="1076"/>
          <ac:picMkLst>
            <pc:docMk/>
            <pc:sldMk cId="117940166" sldId="278"/>
            <ac:picMk id="9" creationId="{AC4FEA05-E49E-4104-AE31-B6900AF105E1}"/>
          </ac:picMkLst>
        </pc:picChg>
        <pc:picChg chg="add mod">
          <ac:chgData name="Magnus Lütt" userId="a5ce4c93dcdbffd9" providerId="LiveId" clId="{B3489C9D-1254-4145-9CD3-71EFD119BF10}" dt="2021-11-17T10:08:57.861" v="899" actId="1076"/>
          <ac:picMkLst>
            <pc:docMk/>
            <pc:sldMk cId="117940166" sldId="278"/>
            <ac:picMk id="16" creationId="{9480DC30-533E-4D8B-9155-BE9B03B89C58}"/>
          </ac:picMkLst>
        </pc:picChg>
        <pc:picChg chg="add del mod modCrop">
          <ac:chgData name="Magnus Lütt" userId="a5ce4c93dcdbffd9" providerId="LiveId" clId="{B3489C9D-1254-4145-9CD3-71EFD119BF10}" dt="2021-11-17T10:01:40.783" v="805" actId="478"/>
          <ac:picMkLst>
            <pc:docMk/>
            <pc:sldMk cId="117940166" sldId="278"/>
            <ac:picMk id="25" creationId="{7DBD243A-2A61-4686-A016-E94BADA35553}"/>
          </ac:picMkLst>
        </pc:picChg>
        <pc:picChg chg="add del mod">
          <ac:chgData name="Magnus Lütt" userId="a5ce4c93dcdbffd9" providerId="LiveId" clId="{B3489C9D-1254-4145-9CD3-71EFD119BF10}" dt="2021-11-17T10:10:05.898" v="911" actId="478"/>
          <ac:picMkLst>
            <pc:docMk/>
            <pc:sldMk cId="117940166" sldId="278"/>
            <ac:picMk id="27" creationId="{822D1ECD-F6C9-4D71-AD96-9016DB63B442}"/>
          </ac:picMkLst>
        </pc:picChg>
        <pc:picChg chg="add mod">
          <ac:chgData name="Magnus Lütt" userId="a5ce4c93dcdbffd9" providerId="LiveId" clId="{B3489C9D-1254-4145-9CD3-71EFD119BF10}" dt="2021-11-17T10:08:57.861" v="899" actId="1076"/>
          <ac:picMkLst>
            <pc:docMk/>
            <pc:sldMk cId="117940166" sldId="278"/>
            <ac:picMk id="28" creationId="{3B2D27AF-9DD2-4C5B-97FF-C030D4A3FC1C}"/>
          </ac:picMkLst>
        </pc:picChg>
        <pc:picChg chg="add del mod">
          <ac:chgData name="Magnus Lütt" userId="a5ce4c93dcdbffd9" providerId="LiveId" clId="{B3489C9D-1254-4145-9CD3-71EFD119BF10}" dt="2021-11-17T10:11:21.462" v="925" actId="478"/>
          <ac:picMkLst>
            <pc:docMk/>
            <pc:sldMk cId="117940166" sldId="278"/>
            <ac:picMk id="30" creationId="{AAD0DC1E-0484-4AAD-8279-4D3AE993713E}"/>
          </ac:picMkLst>
        </pc:picChg>
        <pc:picChg chg="add mod">
          <ac:chgData name="Magnus Lütt" userId="a5ce4c93dcdbffd9" providerId="LiveId" clId="{B3489C9D-1254-4145-9CD3-71EFD119BF10}" dt="2021-11-17T10:08:57.861" v="899" actId="1076"/>
          <ac:picMkLst>
            <pc:docMk/>
            <pc:sldMk cId="117940166" sldId="278"/>
            <ac:picMk id="31" creationId="{DE89C18D-94A6-4788-B573-9AC45271C6C8}"/>
          </ac:picMkLst>
        </pc:picChg>
        <pc:picChg chg="add del mod">
          <ac:chgData name="Magnus Lütt" userId="a5ce4c93dcdbffd9" providerId="LiveId" clId="{B3489C9D-1254-4145-9CD3-71EFD119BF10}" dt="2021-11-17T10:11:21.462" v="925" actId="478"/>
          <ac:picMkLst>
            <pc:docMk/>
            <pc:sldMk cId="117940166" sldId="278"/>
            <ac:picMk id="35" creationId="{06FA829B-B253-4A4F-86E4-B47DFA2B81F3}"/>
          </ac:picMkLst>
        </pc:picChg>
        <pc:picChg chg="add del mod">
          <ac:chgData name="Magnus Lütt" userId="a5ce4c93dcdbffd9" providerId="LiveId" clId="{B3489C9D-1254-4145-9CD3-71EFD119BF10}" dt="2021-11-17T10:11:21.462" v="925" actId="478"/>
          <ac:picMkLst>
            <pc:docMk/>
            <pc:sldMk cId="117940166" sldId="278"/>
            <ac:picMk id="36" creationId="{25EEC1A6-C01C-49D2-8B5F-2959055E4499}"/>
          </ac:picMkLst>
        </pc:picChg>
        <pc:picChg chg="add mod">
          <ac:chgData name="Magnus Lütt" userId="a5ce4c93dcdbffd9" providerId="LiveId" clId="{B3489C9D-1254-4145-9CD3-71EFD119BF10}" dt="2021-11-17T10:11:28.243" v="927" actId="1076"/>
          <ac:picMkLst>
            <pc:docMk/>
            <pc:sldMk cId="117940166" sldId="278"/>
            <ac:picMk id="1026" creationId="{D13E2B00-83CA-47C1-B3DD-75671899CC65}"/>
          </ac:picMkLst>
        </pc:picChg>
      </pc:sldChg>
      <pc:sldChg chg="addSp delSp modSp add mod">
        <pc:chgData name="Magnus Lütt" userId="a5ce4c93dcdbffd9" providerId="LiveId" clId="{B3489C9D-1254-4145-9CD3-71EFD119BF10}" dt="2021-11-17T10:44:20.126" v="1792" actId="14100"/>
        <pc:sldMkLst>
          <pc:docMk/>
          <pc:sldMk cId="1595208941" sldId="279"/>
        </pc:sldMkLst>
        <pc:spChg chg="mod">
          <ac:chgData name="Magnus Lütt" userId="a5ce4c93dcdbffd9" providerId="LiveId" clId="{B3489C9D-1254-4145-9CD3-71EFD119BF10}" dt="2021-11-17T10:44:20.126" v="1792" actId="14100"/>
          <ac:spMkLst>
            <pc:docMk/>
            <pc:sldMk cId="1595208941" sldId="279"/>
            <ac:spMk id="4" creationId="{00000000-0000-0000-0000-000000000000}"/>
          </ac:spMkLst>
        </pc:spChg>
        <pc:spChg chg="add mod">
          <ac:chgData name="Magnus Lütt" userId="a5ce4c93dcdbffd9" providerId="LiveId" clId="{B3489C9D-1254-4145-9CD3-71EFD119BF10}" dt="2021-11-17T09:45:36.850" v="637" actId="1076"/>
          <ac:spMkLst>
            <pc:docMk/>
            <pc:sldMk cId="1595208941" sldId="279"/>
            <ac:spMk id="8" creationId="{A02D9A57-3DBF-408A-AC3F-FECCF68C7977}"/>
          </ac:spMkLst>
        </pc:spChg>
        <pc:spChg chg="add mod ord">
          <ac:chgData name="Magnus Lütt" userId="a5ce4c93dcdbffd9" providerId="LiveId" clId="{B3489C9D-1254-4145-9CD3-71EFD119BF10}" dt="2021-11-17T09:30:29.409" v="404" actId="167"/>
          <ac:spMkLst>
            <pc:docMk/>
            <pc:sldMk cId="1595208941" sldId="279"/>
            <ac:spMk id="12" creationId="{2D8D190E-06B2-40E2-8904-75309342F2E8}"/>
          </ac:spMkLst>
        </pc:spChg>
        <pc:spChg chg="del">
          <ac:chgData name="Magnus Lütt" userId="a5ce4c93dcdbffd9" providerId="LiveId" clId="{B3489C9D-1254-4145-9CD3-71EFD119BF10}" dt="2021-11-17T09:30:27.486" v="402" actId="478"/>
          <ac:spMkLst>
            <pc:docMk/>
            <pc:sldMk cId="1595208941" sldId="279"/>
            <ac:spMk id="13" creationId="{747B6DF3-87A8-447E-9A25-41D55990261E}"/>
          </ac:spMkLst>
        </pc:spChg>
        <pc:spChg chg="add mod">
          <ac:chgData name="Magnus Lütt" userId="a5ce4c93dcdbffd9" providerId="LiveId" clId="{B3489C9D-1254-4145-9CD3-71EFD119BF10}" dt="2021-11-17T09:45:46.645" v="649" actId="20577"/>
          <ac:spMkLst>
            <pc:docMk/>
            <pc:sldMk cId="1595208941" sldId="279"/>
            <ac:spMk id="19" creationId="{DC238AE6-7810-4216-B769-FED13C785391}"/>
          </ac:spMkLst>
        </pc:spChg>
        <pc:spChg chg="del">
          <ac:chgData name="Magnus Lütt" userId="a5ce4c93dcdbffd9" providerId="LiveId" clId="{B3489C9D-1254-4145-9CD3-71EFD119BF10}" dt="2021-11-17T10:05:28.998" v="822" actId="478"/>
          <ac:spMkLst>
            <pc:docMk/>
            <pc:sldMk cId="1595208941" sldId="279"/>
            <ac:spMk id="20" creationId="{914A22B2-49AF-48AE-A767-9D75030DD0A8}"/>
          </ac:spMkLst>
        </pc:spChg>
        <pc:spChg chg="add del mod">
          <ac:chgData name="Magnus Lütt" userId="a5ce4c93dcdbffd9" providerId="LiveId" clId="{B3489C9D-1254-4145-9CD3-71EFD119BF10}" dt="2021-11-17T10:36:11.285" v="1368" actId="478"/>
          <ac:spMkLst>
            <pc:docMk/>
            <pc:sldMk cId="1595208941" sldId="279"/>
            <ac:spMk id="21" creationId="{D2BC03EB-2C9C-47B0-8C1B-3C3F477A9311}"/>
          </ac:spMkLst>
        </pc:spChg>
        <pc:spChg chg="add mod">
          <ac:chgData name="Magnus Lütt" userId="a5ce4c93dcdbffd9" providerId="LiveId" clId="{B3489C9D-1254-4145-9CD3-71EFD119BF10}" dt="2021-11-17T10:38:33.757" v="1481" actId="1076"/>
          <ac:spMkLst>
            <pc:docMk/>
            <pc:sldMk cId="1595208941" sldId="279"/>
            <ac:spMk id="28" creationId="{EE7E6059-E775-43DF-AADF-F424B94AC311}"/>
          </ac:spMkLst>
        </pc:spChg>
        <pc:spChg chg="mod">
          <ac:chgData name="Magnus Lütt" userId="a5ce4c93dcdbffd9" providerId="LiveId" clId="{B3489C9D-1254-4145-9CD3-71EFD119BF10}" dt="2021-11-17T10:40:14.569" v="1638" actId="20577"/>
          <ac:spMkLst>
            <pc:docMk/>
            <pc:sldMk cId="1595208941" sldId="279"/>
            <ac:spMk id="34" creationId="{554F38FF-5779-4B65-9AB8-431BA11D243D}"/>
          </ac:spMkLst>
        </pc:spChg>
        <pc:grpChg chg="add mod">
          <ac:chgData name="Magnus Lütt" userId="a5ce4c93dcdbffd9" providerId="LiveId" clId="{B3489C9D-1254-4145-9CD3-71EFD119BF10}" dt="2021-11-17T10:38:33.757" v="1481" actId="1076"/>
          <ac:grpSpMkLst>
            <pc:docMk/>
            <pc:sldMk cId="1595208941" sldId="279"/>
            <ac:grpSpMk id="23" creationId="{F9C82869-717E-4F3C-A4AD-5D1826F0F169}"/>
          </ac:grpSpMkLst>
        </pc:grpChg>
        <pc:graphicFrameChg chg="add mod">
          <ac:chgData name="Magnus Lütt" userId="a5ce4c93dcdbffd9" providerId="LiveId" clId="{B3489C9D-1254-4145-9CD3-71EFD119BF10}" dt="2021-11-17T09:43:12.583" v="580"/>
          <ac:graphicFrameMkLst>
            <pc:docMk/>
            <pc:sldMk cId="1595208941" sldId="279"/>
            <ac:graphicFrameMk id="15" creationId="{00000000-0008-0000-0700-00000C000000}"/>
          </ac:graphicFrameMkLst>
        </pc:graphicFrameChg>
        <pc:graphicFrameChg chg="add mod">
          <ac:chgData name="Magnus Lütt" userId="a5ce4c93dcdbffd9" providerId="LiveId" clId="{B3489C9D-1254-4145-9CD3-71EFD119BF10}" dt="2021-11-17T09:43:28.341" v="588"/>
          <ac:graphicFrameMkLst>
            <pc:docMk/>
            <pc:sldMk cId="1595208941" sldId="279"/>
            <ac:graphicFrameMk id="16" creationId="{00000000-0008-0000-0700-00000D000000}"/>
          </ac:graphicFrameMkLst>
        </pc:graphicFrameChg>
        <pc:graphicFrameChg chg="add mod">
          <ac:chgData name="Magnus Lütt" userId="a5ce4c93dcdbffd9" providerId="LiveId" clId="{B3489C9D-1254-4145-9CD3-71EFD119BF10}" dt="2021-11-17T09:43:45.750" v="595"/>
          <ac:graphicFrameMkLst>
            <pc:docMk/>
            <pc:sldMk cId="1595208941" sldId="279"/>
            <ac:graphicFrameMk id="17" creationId="{00000000-0008-0000-0700-00000E000000}"/>
          </ac:graphicFrameMkLst>
        </pc:graphicFrameChg>
        <pc:graphicFrameChg chg="add mod">
          <ac:chgData name="Magnus Lütt" userId="a5ce4c93dcdbffd9" providerId="LiveId" clId="{B3489C9D-1254-4145-9CD3-71EFD119BF10}" dt="2021-11-17T10:36:35.444" v="1370"/>
          <ac:graphicFrameMkLst>
            <pc:docMk/>
            <pc:sldMk cId="1595208941" sldId="279"/>
            <ac:graphicFrameMk id="22" creationId="{00000000-0008-0000-0700-00000C000000}"/>
          </ac:graphicFrameMkLst>
        </pc:graphicFrameChg>
        <pc:picChg chg="add del mod">
          <ac:chgData name="Magnus Lütt" userId="a5ce4c93dcdbffd9" providerId="LiveId" clId="{B3489C9D-1254-4145-9CD3-71EFD119BF10}" dt="2021-11-17T10:36:53.893" v="1379" actId="478"/>
          <ac:picMkLst>
            <pc:docMk/>
            <pc:sldMk cId="1595208941" sldId="279"/>
            <ac:picMk id="2" creationId="{F12AF3B1-AC05-4546-887F-F06D6475858C}"/>
          </ac:picMkLst>
        </pc:picChg>
        <pc:picChg chg="del">
          <ac:chgData name="Magnus Lütt" userId="a5ce4c93dcdbffd9" providerId="LiveId" clId="{B3489C9D-1254-4145-9CD3-71EFD119BF10}" dt="2021-11-17T09:30:46.413" v="409" actId="478"/>
          <ac:picMkLst>
            <pc:docMk/>
            <pc:sldMk cId="1595208941" sldId="279"/>
            <ac:picMk id="3" creationId="{AAA2D6EB-DED1-40C5-BDDF-11DCC2A8E9EA}"/>
          </ac:picMkLst>
        </pc:picChg>
        <pc:picChg chg="del">
          <ac:chgData name="Magnus Lütt" userId="a5ce4c93dcdbffd9" providerId="LiveId" clId="{B3489C9D-1254-4145-9CD3-71EFD119BF10}" dt="2021-11-17T09:30:46.912" v="410" actId="478"/>
          <ac:picMkLst>
            <pc:docMk/>
            <pc:sldMk cId="1595208941" sldId="279"/>
            <ac:picMk id="5" creationId="{0F61FC1A-2D85-4CBE-A7E3-C127566FA24A}"/>
          </ac:picMkLst>
        </pc:picChg>
        <pc:picChg chg="add mod">
          <ac:chgData name="Magnus Lütt" userId="a5ce4c93dcdbffd9" providerId="LiveId" clId="{B3489C9D-1254-4145-9CD3-71EFD119BF10}" dt="2021-11-17T09:44:55.678" v="606" actId="1076"/>
          <ac:picMkLst>
            <pc:docMk/>
            <pc:sldMk cId="1595208941" sldId="279"/>
            <ac:picMk id="6" creationId="{F15353E4-E3C9-40A9-9024-B4A4D8BB1190}"/>
          </ac:picMkLst>
        </pc:picChg>
        <pc:picChg chg="add mod">
          <ac:chgData name="Magnus Lütt" userId="a5ce4c93dcdbffd9" providerId="LiveId" clId="{B3489C9D-1254-4145-9CD3-71EFD119BF10}" dt="2021-11-17T09:44:55.678" v="606" actId="1076"/>
          <ac:picMkLst>
            <pc:docMk/>
            <pc:sldMk cId="1595208941" sldId="279"/>
            <ac:picMk id="7" creationId="{E98E2CA4-C148-4397-96BA-DFB95C8E8860}"/>
          </ac:picMkLst>
        </pc:picChg>
        <pc:picChg chg="add mod">
          <ac:chgData name="Magnus Lütt" userId="a5ce4c93dcdbffd9" providerId="LiveId" clId="{B3489C9D-1254-4145-9CD3-71EFD119BF10}" dt="2021-11-17T10:36:55.329" v="1380" actId="1076"/>
          <ac:picMkLst>
            <pc:docMk/>
            <pc:sldMk cId="1595208941" sldId="279"/>
            <ac:picMk id="9" creationId="{306BBD93-E5BA-41D3-ACAE-967536456499}"/>
          </ac:picMkLst>
        </pc:picChg>
        <pc:cxnChg chg="mod">
          <ac:chgData name="Magnus Lütt" userId="a5ce4c93dcdbffd9" providerId="LiveId" clId="{B3489C9D-1254-4145-9CD3-71EFD119BF10}" dt="2021-11-17T10:38:30.743" v="1480"/>
          <ac:cxnSpMkLst>
            <pc:docMk/>
            <pc:sldMk cId="1595208941" sldId="279"/>
            <ac:cxnSpMk id="24" creationId="{13E42E8B-BC94-4656-8D52-868BF5450286}"/>
          </ac:cxnSpMkLst>
        </pc:cxnChg>
        <pc:cxnChg chg="mod">
          <ac:chgData name="Magnus Lütt" userId="a5ce4c93dcdbffd9" providerId="LiveId" clId="{B3489C9D-1254-4145-9CD3-71EFD119BF10}" dt="2021-11-17T10:38:30.743" v="1480"/>
          <ac:cxnSpMkLst>
            <pc:docMk/>
            <pc:sldMk cId="1595208941" sldId="279"/>
            <ac:cxnSpMk id="25" creationId="{F2D6A882-C3ED-490C-ADE2-576F0C31F503}"/>
          </ac:cxnSpMkLst>
        </pc:cxnChg>
        <pc:cxnChg chg="mod">
          <ac:chgData name="Magnus Lütt" userId="a5ce4c93dcdbffd9" providerId="LiveId" clId="{B3489C9D-1254-4145-9CD3-71EFD119BF10}" dt="2021-11-17T10:38:30.743" v="1480"/>
          <ac:cxnSpMkLst>
            <pc:docMk/>
            <pc:sldMk cId="1595208941" sldId="279"/>
            <ac:cxnSpMk id="26" creationId="{572C3C73-A404-4782-A382-9165DD0E810E}"/>
          </ac:cxnSpMkLst>
        </pc:cxnChg>
        <pc:cxnChg chg="mod">
          <ac:chgData name="Magnus Lütt" userId="a5ce4c93dcdbffd9" providerId="LiveId" clId="{B3489C9D-1254-4145-9CD3-71EFD119BF10}" dt="2021-11-17T10:38:30.743" v="1480"/>
          <ac:cxnSpMkLst>
            <pc:docMk/>
            <pc:sldMk cId="1595208941" sldId="279"/>
            <ac:cxnSpMk id="27" creationId="{2308B792-1ECC-4347-8AE5-B67EB12C8EA8}"/>
          </ac:cxnSpMkLst>
        </pc:cxnChg>
      </pc:sldChg>
    </pc:docChg>
  </pc:docChgLst>
  <pc:docChgLst>
    <pc:chgData name="Guest User" providerId="Windows Live" clId="Web-{634468C0-C794-43FA-B9B7-DA70A6902159}"/>
    <pc:docChg chg="modSld">
      <pc:chgData name="Guest User" userId="" providerId="Windows Live" clId="Web-{634468C0-C794-43FA-B9B7-DA70A6902159}" dt="2021-12-13T11:09:40.954" v="2" actId="20577"/>
      <pc:docMkLst>
        <pc:docMk/>
      </pc:docMkLst>
      <pc:sldChg chg="modSp">
        <pc:chgData name="Guest User" userId="" providerId="Windows Live" clId="Web-{634468C0-C794-43FA-B9B7-DA70A6902159}" dt="2021-12-13T11:09:40.954" v="2" actId="20577"/>
        <pc:sldMkLst>
          <pc:docMk/>
          <pc:sldMk cId="3362921512" sldId="296"/>
        </pc:sldMkLst>
        <pc:spChg chg="mod">
          <ac:chgData name="Guest User" userId="" providerId="Windows Live" clId="Web-{634468C0-C794-43FA-B9B7-DA70A6902159}" dt="2021-12-13T11:09:40.954" v="2" actId="20577"/>
          <ac:spMkLst>
            <pc:docMk/>
            <pc:sldMk cId="3362921512" sldId="296"/>
            <ac:spMk id="48" creationId="{9CF31DB6-20F9-47C1-A9EE-5DF87AB9FB3A}"/>
          </ac:spMkLst>
        </pc:spChg>
      </pc:sldChg>
    </pc:docChg>
  </pc:docChgLst>
  <pc:docChgLst>
    <pc:chgData name="Guest User" providerId="Windows Live" clId="Web-{65E608E1-1920-4FF7-8FD5-66C776212D88}"/>
    <pc:docChg chg="modSld">
      <pc:chgData name="Guest User" userId="" providerId="Windows Live" clId="Web-{65E608E1-1920-4FF7-8FD5-66C776212D88}" dt="2021-12-11T19:09:26.027" v="261" actId="20577"/>
      <pc:docMkLst>
        <pc:docMk/>
      </pc:docMkLst>
      <pc:sldChg chg="modSp">
        <pc:chgData name="Guest User" userId="" providerId="Windows Live" clId="Web-{65E608E1-1920-4FF7-8FD5-66C776212D88}" dt="2021-12-11T19:09:26.027" v="261" actId="20577"/>
        <pc:sldMkLst>
          <pc:docMk/>
          <pc:sldMk cId="801734895" sldId="273"/>
        </pc:sldMkLst>
        <pc:spChg chg="mod">
          <ac:chgData name="Guest User" userId="" providerId="Windows Live" clId="Web-{65E608E1-1920-4FF7-8FD5-66C776212D88}" dt="2021-12-11T19:07:36.431" v="220" actId="20577"/>
          <ac:spMkLst>
            <pc:docMk/>
            <pc:sldMk cId="801734895" sldId="273"/>
            <ac:spMk id="9" creationId="{919F44C3-6255-4ACB-B859-88CF660F72BC}"/>
          </ac:spMkLst>
        </pc:spChg>
        <pc:spChg chg="mod">
          <ac:chgData name="Guest User" userId="" providerId="Windows Live" clId="Web-{65E608E1-1920-4FF7-8FD5-66C776212D88}" dt="2021-12-11T19:05:10.053" v="154" actId="20577"/>
          <ac:spMkLst>
            <pc:docMk/>
            <pc:sldMk cId="801734895" sldId="273"/>
            <ac:spMk id="30" creationId="{C082E54C-AC86-4ADD-B769-4C93FD0B71DD}"/>
          </ac:spMkLst>
        </pc:spChg>
        <pc:spChg chg="mod">
          <ac:chgData name="Guest User" userId="" providerId="Windows Live" clId="Web-{65E608E1-1920-4FF7-8FD5-66C776212D88}" dt="2021-12-11T19:06:56.821" v="216" actId="20577"/>
          <ac:spMkLst>
            <pc:docMk/>
            <pc:sldMk cId="801734895" sldId="273"/>
            <ac:spMk id="32" creationId="{9F0C05AF-778D-4EB7-A500-32A28A5164C8}"/>
          </ac:spMkLst>
        </pc:spChg>
        <pc:spChg chg="mod">
          <ac:chgData name="Guest User" userId="" providerId="Windows Live" clId="Web-{65E608E1-1920-4FF7-8FD5-66C776212D88}" dt="2021-12-11T19:09:26.027" v="261" actId="20577"/>
          <ac:spMkLst>
            <pc:docMk/>
            <pc:sldMk cId="801734895" sldId="273"/>
            <ac:spMk id="39" creationId="{26C371D9-488F-4E67-8AC5-2FD46622EE5E}"/>
          </ac:spMkLst>
        </pc:spChg>
      </pc:sldChg>
    </pc:docChg>
  </pc:docChgLst>
  <pc:docChgLst>
    <pc:chgData name="Julius von Dryander" userId="f300f5c52e32c87c" providerId="LiveId" clId="{C79B15EC-F659-4664-80C3-541780282E28}"/>
    <pc:docChg chg="undo custSel addSld delSld modSld sldOrd modMainMaster modSection replTag">
      <pc:chgData name="Julius von Dryander" userId="f300f5c52e32c87c" providerId="LiveId" clId="{C79B15EC-F659-4664-80C3-541780282E28}" dt="2021-12-13T11:03:54.060" v="6938" actId="478"/>
      <pc:docMkLst>
        <pc:docMk/>
      </pc:docMkLst>
      <pc:sldChg chg="modSp mod">
        <pc:chgData name="Julius von Dryander" userId="f300f5c52e32c87c" providerId="LiveId" clId="{C79B15EC-F659-4664-80C3-541780282E28}" dt="2021-12-12T19:30:10.663" v="6222" actId="20577"/>
        <pc:sldMkLst>
          <pc:docMk/>
          <pc:sldMk cId="0" sldId="256"/>
        </pc:sldMkLst>
        <pc:spChg chg="mod">
          <ac:chgData name="Julius von Dryander" userId="f300f5c52e32c87c" providerId="LiveId" clId="{C79B15EC-F659-4664-80C3-541780282E28}" dt="2021-12-12T19:30:10.663" v="6222" actId="20577"/>
          <ac:spMkLst>
            <pc:docMk/>
            <pc:sldMk cId="0" sldId="256"/>
            <ac:spMk id="18" creationId="{00000000-0000-0000-0000-000000000000}"/>
          </ac:spMkLst>
        </pc:spChg>
        <pc:spChg chg="mod">
          <ac:chgData name="Julius von Dryander" userId="f300f5c52e32c87c" providerId="LiveId" clId="{C79B15EC-F659-4664-80C3-541780282E28}" dt="2021-12-11T13:07:42.342" v="3834" actId="20577"/>
          <ac:spMkLst>
            <pc:docMk/>
            <pc:sldMk cId="0" sldId="256"/>
            <ac:spMk id="20" creationId="{00000000-0000-0000-0000-000000000000}"/>
          </ac:spMkLst>
        </pc:spChg>
      </pc:sldChg>
      <pc:sldChg chg="addSp delSp modSp mod">
        <pc:chgData name="Julius von Dryander" userId="f300f5c52e32c87c" providerId="LiveId" clId="{C79B15EC-F659-4664-80C3-541780282E28}" dt="2021-12-13T11:02:07.941" v="6765" actId="478"/>
        <pc:sldMkLst>
          <pc:docMk/>
          <pc:sldMk cId="801734895" sldId="273"/>
        </pc:sldMkLst>
        <pc:spChg chg="del">
          <ac:chgData name="Julius von Dryander" userId="f300f5c52e32c87c" providerId="LiveId" clId="{C79B15EC-F659-4664-80C3-541780282E28}" dt="2021-12-13T10:59:00.580" v="6444" actId="478"/>
          <ac:spMkLst>
            <pc:docMk/>
            <pc:sldMk cId="801734895" sldId="273"/>
            <ac:spMk id="2" creationId="{66F34B4B-0358-344F-8384-0C9E5FC62C05}"/>
          </ac:spMkLst>
        </pc:spChg>
        <pc:spChg chg="add del mod ord topLvl">
          <ac:chgData name="Julius von Dryander" userId="f300f5c52e32c87c" providerId="LiveId" clId="{C79B15EC-F659-4664-80C3-541780282E28}" dt="2021-12-11T12:31:29.243" v="1945" actId="478"/>
          <ac:spMkLst>
            <pc:docMk/>
            <pc:sldMk cId="801734895" sldId="273"/>
            <ac:spMk id="3" creationId="{667083B1-F352-4ABF-9E30-5E6928F3CA82}"/>
          </ac:spMkLst>
        </pc:spChg>
        <pc:spChg chg="mod ord">
          <ac:chgData name="Julius von Dryander" userId="f300f5c52e32c87c" providerId="LiveId" clId="{C79B15EC-F659-4664-80C3-541780282E28}" dt="2021-12-11T12:42:35.987" v="2307" actId="403"/>
          <ac:spMkLst>
            <pc:docMk/>
            <pc:sldMk cId="801734895" sldId="273"/>
            <ac:spMk id="4" creationId="{00000000-0000-0000-0000-000000000000}"/>
          </ac:spMkLst>
        </pc:spChg>
        <pc:spChg chg="add del">
          <ac:chgData name="Julius von Dryander" userId="f300f5c52e32c87c" providerId="LiveId" clId="{C79B15EC-F659-4664-80C3-541780282E28}" dt="2021-12-11T12:12:16.596" v="64" actId="478"/>
          <ac:spMkLst>
            <pc:docMk/>
            <pc:sldMk cId="801734895" sldId="273"/>
            <ac:spMk id="5" creationId="{89E1C630-A99B-4A94-BDFF-72C430D173B8}"/>
          </ac:spMkLst>
        </pc:spChg>
        <pc:spChg chg="add mod ord topLvl">
          <ac:chgData name="Julius von Dryander" userId="f300f5c52e32c87c" providerId="LiveId" clId="{C79B15EC-F659-4664-80C3-541780282E28}" dt="2021-12-13T10:58:35.891" v="6418" actId="14100"/>
          <ac:spMkLst>
            <pc:docMk/>
            <pc:sldMk cId="801734895" sldId="273"/>
            <ac:spMk id="6" creationId="{9F2BE503-AFC6-474C-82EF-CD164C505DFA}"/>
          </ac:spMkLst>
        </pc:spChg>
        <pc:spChg chg="add mod ord topLvl">
          <ac:chgData name="Julius von Dryander" userId="f300f5c52e32c87c" providerId="LiveId" clId="{C79B15EC-F659-4664-80C3-541780282E28}" dt="2021-12-13T10:58:54.508" v="6443" actId="1036"/>
          <ac:spMkLst>
            <pc:docMk/>
            <pc:sldMk cId="801734895" sldId="273"/>
            <ac:spMk id="9" creationId="{919F44C3-6255-4ACB-B859-88CF660F72BC}"/>
          </ac:spMkLst>
        </pc:spChg>
        <pc:spChg chg="add del">
          <ac:chgData name="Julius von Dryander" userId="f300f5c52e32c87c" providerId="LiveId" clId="{C79B15EC-F659-4664-80C3-541780282E28}" dt="2021-12-11T12:29:00.171" v="1672" actId="478"/>
          <ac:spMkLst>
            <pc:docMk/>
            <pc:sldMk cId="801734895" sldId="273"/>
            <ac:spMk id="10" creationId="{3E56A7D7-C726-4492-B854-04DFDA68EF57}"/>
          </ac:spMkLst>
        </pc:spChg>
        <pc:spChg chg="add del mod">
          <ac:chgData name="Julius von Dryander" userId="f300f5c52e32c87c" providerId="LiveId" clId="{C79B15EC-F659-4664-80C3-541780282E28}" dt="2021-12-11T12:29:21.659" v="1675" actId="478"/>
          <ac:spMkLst>
            <pc:docMk/>
            <pc:sldMk cId="801734895" sldId="273"/>
            <ac:spMk id="11" creationId="{10DBCF7F-AC53-4842-938F-F309CA004C8A}"/>
          </ac:spMkLst>
        </pc:spChg>
        <pc:spChg chg="add del mod ord">
          <ac:chgData name="Julius von Dryander" userId="f300f5c52e32c87c" providerId="LiveId" clId="{C79B15EC-F659-4664-80C3-541780282E28}" dt="2021-12-11T12:24:57.937" v="1632" actId="478"/>
          <ac:spMkLst>
            <pc:docMk/>
            <pc:sldMk cId="801734895" sldId="273"/>
            <ac:spMk id="12" creationId="{A88F096E-E3C5-4C26-AC2F-69C658A54FC5}"/>
          </ac:spMkLst>
        </pc:spChg>
        <pc:spChg chg="mod ord">
          <ac:chgData name="Julius von Dryander" userId="f300f5c52e32c87c" providerId="LiveId" clId="{C79B15EC-F659-4664-80C3-541780282E28}" dt="2021-12-11T12:22:25.230" v="1372"/>
          <ac:spMkLst>
            <pc:docMk/>
            <pc:sldMk cId="801734895" sldId="273"/>
            <ac:spMk id="14" creationId="{CA1E088E-1F52-4BB3-B303-F2A8263FAFFF}"/>
          </ac:spMkLst>
        </pc:spChg>
        <pc:spChg chg="add del mod">
          <ac:chgData name="Julius von Dryander" userId="f300f5c52e32c87c" providerId="LiveId" clId="{C79B15EC-F659-4664-80C3-541780282E28}" dt="2021-12-11T12:12:57.856" v="65" actId="478"/>
          <ac:spMkLst>
            <pc:docMk/>
            <pc:sldMk cId="801734895" sldId="273"/>
            <ac:spMk id="15" creationId="{35C45A46-6D95-4E95-958B-CB0B299A2DC7}"/>
          </ac:spMkLst>
        </pc:spChg>
        <pc:spChg chg="add del mod">
          <ac:chgData name="Julius von Dryander" userId="f300f5c52e32c87c" providerId="LiveId" clId="{C79B15EC-F659-4664-80C3-541780282E28}" dt="2021-12-11T12:12:57.856" v="65" actId="478"/>
          <ac:spMkLst>
            <pc:docMk/>
            <pc:sldMk cId="801734895" sldId="273"/>
            <ac:spMk id="16" creationId="{743933DD-1F72-42BF-9498-975841AE0AA7}"/>
          </ac:spMkLst>
        </pc:spChg>
        <pc:spChg chg="add del mod ord">
          <ac:chgData name="Julius von Dryander" userId="f300f5c52e32c87c" providerId="LiveId" clId="{C79B15EC-F659-4664-80C3-541780282E28}" dt="2021-12-11T12:14:35.227" v="219" actId="478"/>
          <ac:spMkLst>
            <pc:docMk/>
            <pc:sldMk cId="801734895" sldId="273"/>
            <ac:spMk id="17" creationId="{06F05E51-5B79-418A-8998-B6C4C3D34FAE}"/>
          </ac:spMkLst>
        </pc:spChg>
        <pc:spChg chg="add del mod">
          <ac:chgData name="Julius von Dryander" userId="f300f5c52e32c87c" providerId="LiveId" clId="{C79B15EC-F659-4664-80C3-541780282E28}" dt="2021-12-11T12:13:11.546" v="72" actId="478"/>
          <ac:spMkLst>
            <pc:docMk/>
            <pc:sldMk cId="801734895" sldId="273"/>
            <ac:spMk id="18" creationId="{9903BC64-7DE1-41BC-9B81-B7568261F3B7}"/>
          </ac:spMkLst>
        </pc:spChg>
        <pc:spChg chg="add del mod ord">
          <ac:chgData name="Julius von Dryander" userId="f300f5c52e32c87c" providerId="LiveId" clId="{C79B15EC-F659-4664-80C3-541780282E28}" dt="2021-12-11T12:14:35.227" v="219" actId="478"/>
          <ac:spMkLst>
            <pc:docMk/>
            <pc:sldMk cId="801734895" sldId="273"/>
            <ac:spMk id="19" creationId="{7B1F97E7-B2DE-4F75-8BDA-D410271FDD3A}"/>
          </ac:spMkLst>
        </pc:spChg>
        <pc:spChg chg="mod ord topLvl">
          <ac:chgData name="Julius von Dryander" userId="f300f5c52e32c87c" providerId="LiveId" clId="{C79B15EC-F659-4664-80C3-541780282E28}" dt="2021-12-13T10:03:00.384" v="6387" actId="165"/>
          <ac:spMkLst>
            <pc:docMk/>
            <pc:sldMk cId="801734895" sldId="273"/>
            <ac:spMk id="20" creationId="{914A22B2-49AF-48AE-A767-9D75030DD0A8}"/>
          </ac:spMkLst>
        </pc:spChg>
        <pc:spChg chg="add mod topLvl">
          <ac:chgData name="Julius von Dryander" userId="f300f5c52e32c87c" providerId="LiveId" clId="{C79B15EC-F659-4664-80C3-541780282E28}" dt="2021-12-13T10:58:47.981" v="6431" actId="1035"/>
          <ac:spMkLst>
            <pc:docMk/>
            <pc:sldMk cId="801734895" sldId="273"/>
            <ac:spMk id="21" creationId="{B7A9A7CE-08C8-418C-902F-759BEC54A779}"/>
          </ac:spMkLst>
        </pc:spChg>
        <pc:spChg chg="mod ord topLvl">
          <ac:chgData name="Julius von Dryander" userId="f300f5c52e32c87c" providerId="LiveId" clId="{C79B15EC-F659-4664-80C3-541780282E28}" dt="2021-12-13T10:58:35.891" v="6418" actId="14100"/>
          <ac:spMkLst>
            <pc:docMk/>
            <pc:sldMk cId="801734895" sldId="273"/>
            <ac:spMk id="24" creationId="{21A0CF55-160E-40B1-A846-EEFB92BD16C7}"/>
          </ac:spMkLst>
        </pc:spChg>
        <pc:spChg chg="del mod ord topLvl">
          <ac:chgData name="Julius von Dryander" userId="f300f5c52e32c87c" providerId="LiveId" clId="{C79B15EC-F659-4664-80C3-541780282E28}" dt="2021-12-11T12:31:29.243" v="1945" actId="478"/>
          <ac:spMkLst>
            <pc:docMk/>
            <pc:sldMk cId="801734895" sldId="273"/>
            <ac:spMk id="25" creationId="{D4CA306E-177F-4CE1-A354-88C4E9E06876}"/>
          </ac:spMkLst>
        </pc:spChg>
        <pc:spChg chg="mod ord">
          <ac:chgData name="Julius von Dryander" userId="f300f5c52e32c87c" providerId="LiveId" clId="{C79B15EC-F659-4664-80C3-541780282E28}" dt="2021-12-11T12:28:52.360" v="1670" actId="1076"/>
          <ac:spMkLst>
            <pc:docMk/>
            <pc:sldMk cId="801734895" sldId="273"/>
            <ac:spMk id="26" creationId="{C0F63C80-696D-4F1F-943C-77A22143821F}"/>
          </ac:spMkLst>
        </pc:spChg>
        <pc:spChg chg="mod ord topLvl">
          <ac:chgData name="Julius von Dryander" userId="f300f5c52e32c87c" providerId="LiveId" clId="{C79B15EC-F659-4664-80C3-541780282E28}" dt="2021-12-13T10:58:35.891" v="6418" actId="14100"/>
          <ac:spMkLst>
            <pc:docMk/>
            <pc:sldMk cId="801734895" sldId="273"/>
            <ac:spMk id="28" creationId="{08CE3B82-318B-4C81-8612-29252E6D91EC}"/>
          </ac:spMkLst>
        </pc:spChg>
        <pc:spChg chg="del mod ord topLvl">
          <ac:chgData name="Julius von Dryander" userId="f300f5c52e32c87c" providerId="LiveId" clId="{C79B15EC-F659-4664-80C3-541780282E28}" dt="2021-12-11T12:30:36.247" v="1828" actId="478"/>
          <ac:spMkLst>
            <pc:docMk/>
            <pc:sldMk cId="801734895" sldId="273"/>
            <ac:spMk id="29" creationId="{11B0EECC-01B4-4288-B63F-28B99E7913F4}"/>
          </ac:spMkLst>
        </pc:spChg>
        <pc:spChg chg="add mod ord topLvl">
          <ac:chgData name="Julius von Dryander" userId="f300f5c52e32c87c" providerId="LiveId" clId="{C79B15EC-F659-4664-80C3-541780282E28}" dt="2021-12-13T10:59:35.444" v="6449"/>
          <ac:spMkLst>
            <pc:docMk/>
            <pc:sldMk cId="801734895" sldId="273"/>
            <ac:spMk id="30" creationId="{C082E54C-AC86-4ADD-B769-4C93FD0B71DD}"/>
          </ac:spMkLst>
        </pc:spChg>
        <pc:spChg chg="mod ord">
          <ac:chgData name="Julius von Dryander" userId="f300f5c52e32c87c" providerId="LiveId" clId="{C79B15EC-F659-4664-80C3-541780282E28}" dt="2021-12-11T13:06:45.480" v="3827"/>
          <ac:spMkLst>
            <pc:docMk/>
            <pc:sldMk cId="801734895" sldId="273"/>
            <ac:spMk id="31" creationId="{A466A1C1-91D2-4A97-9680-0017B452BB8D}"/>
          </ac:spMkLst>
        </pc:spChg>
        <pc:spChg chg="add mod ord topLvl">
          <ac:chgData name="Julius von Dryander" userId="f300f5c52e32c87c" providerId="LiveId" clId="{C79B15EC-F659-4664-80C3-541780282E28}" dt="2021-12-13T11:00:21.629" v="6564" actId="20577"/>
          <ac:spMkLst>
            <pc:docMk/>
            <pc:sldMk cId="801734895" sldId="273"/>
            <ac:spMk id="32" creationId="{9F0C05AF-778D-4EB7-A500-32A28A5164C8}"/>
          </ac:spMkLst>
        </pc:spChg>
        <pc:spChg chg="del mod ord">
          <ac:chgData name="Julius von Dryander" userId="f300f5c52e32c87c" providerId="LiveId" clId="{C79B15EC-F659-4664-80C3-541780282E28}" dt="2021-12-12T19:25:50.938" v="5960" actId="478"/>
          <ac:spMkLst>
            <pc:docMk/>
            <pc:sldMk cId="801734895" sldId="273"/>
            <ac:spMk id="33" creationId="{4D70A02C-56A4-4411-932D-30B4F49234A0}"/>
          </ac:spMkLst>
        </pc:spChg>
        <pc:spChg chg="add del mod ord">
          <ac:chgData name="Julius von Dryander" userId="f300f5c52e32c87c" providerId="LiveId" clId="{C79B15EC-F659-4664-80C3-541780282E28}" dt="2021-12-12T19:25:49.430" v="5959" actId="478"/>
          <ac:spMkLst>
            <pc:docMk/>
            <pc:sldMk cId="801734895" sldId="273"/>
            <ac:spMk id="34" creationId="{554F38FF-5779-4B65-9AB8-431BA11D243D}"/>
          </ac:spMkLst>
        </pc:spChg>
        <pc:spChg chg="del mod">
          <ac:chgData name="Julius von Dryander" userId="f300f5c52e32c87c" providerId="LiveId" clId="{C79B15EC-F659-4664-80C3-541780282E28}" dt="2021-12-13T11:00:23.988" v="6565" actId="478"/>
          <ac:spMkLst>
            <pc:docMk/>
            <pc:sldMk cId="801734895" sldId="273"/>
            <ac:spMk id="35" creationId="{7B9D7BED-96AF-B241-B02C-1D3BA8B41C4A}"/>
          </ac:spMkLst>
        </pc:spChg>
        <pc:spChg chg="add del mod ord">
          <ac:chgData name="Julius von Dryander" userId="f300f5c52e32c87c" providerId="LiveId" clId="{C79B15EC-F659-4664-80C3-541780282E28}" dt="2021-12-11T12:31:39.414" v="1957" actId="478"/>
          <ac:spMkLst>
            <pc:docMk/>
            <pc:sldMk cId="801734895" sldId="273"/>
            <ac:spMk id="35" creationId="{8E993DCE-6298-4A4F-AFCE-166A0B2D44B9}"/>
          </ac:spMkLst>
        </pc:spChg>
        <pc:spChg chg="add mod ord">
          <ac:chgData name="Julius von Dryander" userId="f300f5c52e32c87c" providerId="LiveId" clId="{C79B15EC-F659-4664-80C3-541780282E28}" dt="2021-12-12T19:25:56.303" v="5961" actId="14100"/>
          <ac:spMkLst>
            <pc:docMk/>
            <pc:sldMk cId="801734895" sldId="273"/>
            <ac:spMk id="36" creationId="{8B8C26E9-AC8A-4977-BA33-9CE409592DC1}"/>
          </ac:spMkLst>
        </pc:spChg>
        <pc:spChg chg="mod ord">
          <ac:chgData name="Julius von Dryander" userId="f300f5c52e32c87c" providerId="LiveId" clId="{C79B15EC-F659-4664-80C3-541780282E28}" dt="2021-12-11T12:22:25.231" v="1380"/>
          <ac:spMkLst>
            <pc:docMk/>
            <pc:sldMk cId="801734895" sldId="273"/>
            <ac:spMk id="37" creationId="{DE5DFC85-9952-4D88-A075-F7B3C593C8E9}"/>
          </ac:spMkLst>
        </pc:spChg>
        <pc:spChg chg="add mod">
          <ac:chgData name="Julius von Dryander" userId="f300f5c52e32c87c" providerId="LiveId" clId="{C79B15EC-F659-4664-80C3-541780282E28}" dt="2021-12-13T11:02:00.757" v="6764" actId="20577"/>
          <ac:spMkLst>
            <pc:docMk/>
            <pc:sldMk cId="801734895" sldId="273"/>
            <ac:spMk id="39" creationId="{26C371D9-488F-4E67-8AC5-2FD46622EE5E}"/>
          </ac:spMkLst>
        </pc:spChg>
        <pc:spChg chg="add mod">
          <ac:chgData name="Julius von Dryander" userId="f300f5c52e32c87c" providerId="LiveId" clId="{C79B15EC-F659-4664-80C3-541780282E28}" dt="2021-12-13T10:03:06.272" v="6388" actId="165"/>
          <ac:spMkLst>
            <pc:docMk/>
            <pc:sldMk cId="801734895" sldId="273"/>
            <ac:spMk id="40" creationId="{F20A0F92-BCF8-4F3F-B817-EE6B3C7BCFED}"/>
          </ac:spMkLst>
        </pc:spChg>
        <pc:spChg chg="add mod">
          <ac:chgData name="Julius von Dryander" userId="f300f5c52e32c87c" providerId="LiveId" clId="{C79B15EC-F659-4664-80C3-541780282E28}" dt="2021-12-13T10:03:06.272" v="6388" actId="165"/>
          <ac:spMkLst>
            <pc:docMk/>
            <pc:sldMk cId="801734895" sldId="273"/>
            <ac:spMk id="41" creationId="{CD0EEEC7-2031-4242-9304-69E0BC497A3A}"/>
          </ac:spMkLst>
        </pc:spChg>
        <pc:spChg chg="del">
          <ac:chgData name="Julius von Dryander" userId="f300f5c52e32c87c" providerId="LiveId" clId="{C79B15EC-F659-4664-80C3-541780282E28}" dt="2021-12-13T10:59:32.640" v="6447" actId="478"/>
          <ac:spMkLst>
            <pc:docMk/>
            <pc:sldMk cId="801734895" sldId="273"/>
            <ac:spMk id="42" creationId="{A0A9078E-771C-084D-8B72-8E13CA152AB8}"/>
          </ac:spMkLst>
        </pc:spChg>
        <pc:spChg chg="mod topLvl">
          <ac:chgData name="Julius von Dryander" userId="f300f5c52e32c87c" providerId="LiveId" clId="{C79B15EC-F659-4664-80C3-541780282E28}" dt="2021-12-13T10:58:47.981" v="6431" actId="1035"/>
          <ac:spMkLst>
            <pc:docMk/>
            <pc:sldMk cId="801734895" sldId="273"/>
            <ac:spMk id="44" creationId="{27C4549F-3F08-419E-B1F0-43DF14D15510}"/>
          </ac:spMkLst>
        </pc:spChg>
        <pc:spChg chg="mod">
          <ac:chgData name="Julius von Dryander" userId="f300f5c52e32c87c" providerId="LiveId" clId="{C79B15EC-F659-4664-80C3-541780282E28}" dt="2021-12-13T10:03:27.852" v="6395" actId="242"/>
          <ac:spMkLst>
            <pc:docMk/>
            <pc:sldMk cId="801734895" sldId="273"/>
            <ac:spMk id="45" creationId="{71CBA680-00AD-488E-8058-9BFC44B1C220}"/>
          </ac:spMkLst>
        </pc:spChg>
        <pc:spChg chg="mod">
          <ac:chgData name="Julius von Dryander" userId="f300f5c52e32c87c" providerId="LiveId" clId="{C79B15EC-F659-4664-80C3-541780282E28}" dt="2021-12-13T10:03:27.852" v="6395" actId="242"/>
          <ac:spMkLst>
            <pc:docMk/>
            <pc:sldMk cId="801734895" sldId="273"/>
            <ac:spMk id="46" creationId="{5A8EE6F7-D355-4213-9164-2790F89754E5}"/>
          </ac:spMkLst>
        </pc:spChg>
        <pc:spChg chg="del">
          <ac:chgData name="Julius von Dryander" userId="f300f5c52e32c87c" providerId="LiveId" clId="{C79B15EC-F659-4664-80C3-541780282E28}" dt="2021-12-13T11:01:44.401" v="6737" actId="478"/>
          <ac:spMkLst>
            <pc:docMk/>
            <pc:sldMk cId="801734895" sldId="273"/>
            <ac:spMk id="47" creationId="{16E2BACC-3E25-714D-97FC-54BFC2542B92}"/>
          </ac:spMkLst>
        </pc:spChg>
        <pc:spChg chg="mod topLvl">
          <ac:chgData name="Julius von Dryander" userId="f300f5c52e32c87c" providerId="LiveId" clId="{C79B15EC-F659-4664-80C3-541780282E28}" dt="2021-12-13T10:58:47.981" v="6431" actId="1035"/>
          <ac:spMkLst>
            <pc:docMk/>
            <pc:sldMk cId="801734895" sldId="273"/>
            <ac:spMk id="49" creationId="{28D6840A-4701-4646-827B-A3E49198C1AC}"/>
          </ac:spMkLst>
        </pc:spChg>
        <pc:spChg chg="mod">
          <ac:chgData name="Julius von Dryander" userId="f300f5c52e32c87c" providerId="LiveId" clId="{C79B15EC-F659-4664-80C3-541780282E28}" dt="2021-12-13T10:03:35.859" v="6399" actId="242"/>
          <ac:spMkLst>
            <pc:docMk/>
            <pc:sldMk cId="801734895" sldId="273"/>
            <ac:spMk id="50" creationId="{6A52B532-C8D4-4182-83FC-42995926D223}"/>
          </ac:spMkLst>
        </pc:spChg>
        <pc:spChg chg="mod">
          <ac:chgData name="Julius von Dryander" userId="f300f5c52e32c87c" providerId="LiveId" clId="{C79B15EC-F659-4664-80C3-541780282E28}" dt="2021-12-13T10:03:35.859" v="6399" actId="242"/>
          <ac:spMkLst>
            <pc:docMk/>
            <pc:sldMk cId="801734895" sldId="273"/>
            <ac:spMk id="51" creationId="{6706BFC5-F464-40A3-8B8C-FA2642BCE75F}"/>
          </ac:spMkLst>
        </pc:spChg>
        <pc:spChg chg="del">
          <ac:chgData name="Julius von Dryander" userId="f300f5c52e32c87c" providerId="LiveId" clId="{C79B15EC-F659-4664-80C3-541780282E28}" dt="2021-12-13T11:01:00.985" v="6661" actId="478"/>
          <ac:spMkLst>
            <pc:docMk/>
            <pc:sldMk cId="801734895" sldId="273"/>
            <ac:spMk id="52" creationId="{550BC7D9-EF5B-954C-877E-898C9BB1C48A}"/>
          </ac:spMkLst>
        </pc:spChg>
        <pc:spChg chg="mod topLvl">
          <ac:chgData name="Julius von Dryander" userId="f300f5c52e32c87c" providerId="LiveId" clId="{C79B15EC-F659-4664-80C3-541780282E28}" dt="2021-12-13T11:01:05.615" v="6662" actId="20577"/>
          <ac:spMkLst>
            <pc:docMk/>
            <pc:sldMk cId="801734895" sldId="273"/>
            <ac:spMk id="54" creationId="{71BC5921-264C-4D66-AFBE-8F1DE8679DB7}"/>
          </ac:spMkLst>
        </pc:spChg>
        <pc:spChg chg="mod topLvl">
          <ac:chgData name="Julius von Dryander" userId="f300f5c52e32c87c" providerId="LiveId" clId="{C79B15EC-F659-4664-80C3-541780282E28}" dt="2021-12-13T11:00:40.112" v="6634"/>
          <ac:spMkLst>
            <pc:docMk/>
            <pc:sldMk cId="801734895" sldId="273"/>
            <ac:spMk id="55" creationId="{1AB368D6-02D9-46A5-B254-EAE62C21D7CA}"/>
          </ac:spMkLst>
        </pc:spChg>
        <pc:spChg chg="mod topLvl">
          <ac:chgData name="Julius von Dryander" userId="f300f5c52e32c87c" providerId="LiveId" clId="{C79B15EC-F659-4664-80C3-541780282E28}" dt="2021-12-13T11:00:40.112" v="6634"/>
          <ac:spMkLst>
            <pc:docMk/>
            <pc:sldMk cId="801734895" sldId="273"/>
            <ac:spMk id="56" creationId="{9E1E5CEF-652A-4BD6-AA6D-BB7BCE9E0F07}"/>
          </ac:spMkLst>
        </pc:spChg>
        <pc:spChg chg="del">
          <ac:chgData name="Julius von Dryander" userId="f300f5c52e32c87c" providerId="LiveId" clId="{C79B15EC-F659-4664-80C3-541780282E28}" dt="2021-12-13T11:02:07.941" v="6765" actId="478"/>
          <ac:spMkLst>
            <pc:docMk/>
            <pc:sldMk cId="801734895" sldId="273"/>
            <ac:spMk id="57" creationId="{DECB5B10-FB26-CB49-B095-BD897C9BBFDF}"/>
          </ac:spMkLst>
        </pc:spChg>
        <pc:spChg chg="del">
          <ac:chgData name="Julius von Dryander" userId="f300f5c52e32c87c" providerId="LiveId" clId="{C79B15EC-F659-4664-80C3-541780282E28}" dt="2021-12-13T11:02:07.941" v="6765" actId="478"/>
          <ac:spMkLst>
            <pc:docMk/>
            <pc:sldMk cId="801734895" sldId="273"/>
            <ac:spMk id="58" creationId="{C370E480-30F5-AB49-8DEF-0A6B07A04A39}"/>
          </ac:spMkLst>
        </pc:spChg>
        <pc:grpChg chg="del">
          <ac:chgData name="Julius von Dryander" userId="f300f5c52e32c87c" providerId="LiveId" clId="{C79B15EC-F659-4664-80C3-541780282E28}" dt="2021-12-13T10:03:00.384" v="6387" actId="165"/>
          <ac:grpSpMkLst>
            <pc:docMk/>
            <pc:sldMk cId="801734895" sldId="273"/>
            <ac:grpSpMk id="2" creationId="{7CE54D52-5EA6-4A66-A1B3-AD2A61ABDFDB}"/>
          </ac:grpSpMkLst>
        </pc:grpChg>
        <pc:grpChg chg="add mod">
          <ac:chgData name="Julius von Dryander" userId="f300f5c52e32c87c" providerId="LiveId" clId="{C79B15EC-F659-4664-80C3-541780282E28}" dt="2021-12-13T11:00:40.112" v="6634"/>
          <ac:grpSpMkLst>
            <pc:docMk/>
            <pc:sldMk cId="801734895" sldId="273"/>
            <ac:grpSpMk id="3" creationId="{48D8D740-186F-40D8-BC99-8FC23600CF99}"/>
          </ac:grpSpMkLst>
        </pc:grpChg>
        <pc:grpChg chg="add del mod">
          <ac:chgData name="Julius von Dryander" userId="f300f5c52e32c87c" providerId="LiveId" clId="{C79B15EC-F659-4664-80C3-541780282E28}" dt="2021-12-11T12:15:45.762" v="546" actId="165"/>
          <ac:grpSpMkLst>
            <pc:docMk/>
            <pc:sldMk cId="801734895" sldId="273"/>
            <ac:grpSpMk id="8" creationId="{0E3D139C-637E-4A68-8D72-84D0BD7D716B}"/>
          </ac:grpSpMkLst>
        </pc:grpChg>
        <pc:grpChg chg="add mod topLvl">
          <ac:chgData name="Julius von Dryander" userId="f300f5c52e32c87c" providerId="LiveId" clId="{C79B15EC-F659-4664-80C3-541780282E28}" dt="2021-12-13T10:58:47.981" v="6431" actId="1035"/>
          <ac:grpSpMkLst>
            <pc:docMk/>
            <pc:sldMk cId="801734895" sldId="273"/>
            <ac:grpSpMk id="13" creationId="{6FC2100B-4036-4E0B-A487-EE7B65CFCB1C}"/>
          </ac:grpSpMkLst>
        </pc:grpChg>
        <pc:grpChg chg="add del mod topLvl">
          <ac:chgData name="Julius von Dryander" userId="f300f5c52e32c87c" providerId="LiveId" clId="{C79B15EC-F659-4664-80C3-541780282E28}" dt="2021-12-13T10:03:06.272" v="6388" actId="165"/>
          <ac:grpSpMkLst>
            <pc:docMk/>
            <pc:sldMk cId="801734895" sldId="273"/>
            <ac:grpSpMk id="22" creationId="{EF143190-D37D-49EA-8FFD-3E7627BF6A91}"/>
          </ac:grpSpMkLst>
        </pc:grpChg>
        <pc:grpChg chg="add del mod">
          <ac:chgData name="Julius von Dryander" userId="f300f5c52e32c87c" providerId="LiveId" clId="{C79B15EC-F659-4664-80C3-541780282E28}" dt="2021-12-11T12:15:45.762" v="546" actId="165"/>
          <ac:grpSpMkLst>
            <pc:docMk/>
            <pc:sldMk cId="801734895" sldId="273"/>
            <ac:grpSpMk id="23" creationId="{7B830597-99D2-4F78-A783-606AD25378F0}"/>
          </ac:grpSpMkLst>
        </pc:grpChg>
        <pc:grpChg chg="add del mod">
          <ac:chgData name="Julius von Dryander" userId="f300f5c52e32c87c" providerId="LiveId" clId="{C79B15EC-F659-4664-80C3-541780282E28}" dt="2021-12-11T12:15:45.762" v="546" actId="165"/>
          <ac:grpSpMkLst>
            <pc:docMk/>
            <pc:sldMk cId="801734895" sldId="273"/>
            <ac:grpSpMk id="27" creationId="{A8526ACE-4E43-4B83-AE6A-9475ACDA249F}"/>
          </ac:grpSpMkLst>
        </pc:grpChg>
        <pc:grpChg chg="add del mod ord topLvl">
          <ac:chgData name="Julius von Dryander" userId="f300f5c52e32c87c" providerId="LiveId" clId="{C79B15EC-F659-4664-80C3-541780282E28}" dt="2021-12-13T10:03:20.005" v="6392" actId="165"/>
          <ac:grpSpMkLst>
            <pc:docMk/>
            <pc:sldMk cId="801734895" sldId="273"/>
            <ac:grpSpMk id="42" creationId="{94141F77-7703-4020-86B4-FA23581BB958}"/>
          </ac:grpSpMkLst>
        </pc:grpChg>
        <pc:grpChg chg="mod topLvl">
          <ac:chgData name="Julius von Dryander" userId="f300f5c52e32c87c" providerId="LiveId" clId="{C79B15EC-F659-4664-80C3-541780282E28}" dt="2021-12-13T10:58:47.981" v="6431" actId="1035"/>
          <ac:grpSpMkLst>
            <pc:docMk/>
            <pc:sldMk cId="801734895" sldId="273"/>
            <ac:grpSpMk id="43" creationId="{2BAD4A05-D4CF-40B7-9059-C6C40F85D86D}"/>
          </ac:grpSpMkLst>
        </pc:grpChg>
        <pc:grpChg chg="add del mod ord topLvl">
          <ac:chgData name="Julius von Dryander" userId="f300f5c52e32c87c" providerId="LiveId" clId="{C79B15EC-F659-4664-80C3-541780282E28}" dt="2021-12-13T10:03:29.856" v="6396" actId="165"/>
          <ac:grpSpMkLst>
            <pc:docMk/>
            <pc:sldMk cId="801734895" sldId="273"/>
            <ac:grpSpMk id="47" creationId="{853F4E3A-638D-47AC-B874-A7C291032DB7}"/>
          </ac:grpSpMkLst>
        </pc:grpChg>
        <pc:grpChg chg="mod topLvl">
          <ac:chgData name="Julius von Dryander" userId="f300f5c52e32c87c" providerId="LiveId" clId="{C79B15EC-F659-4664-80C3-541780282E28}" dt="2021-12-13T10:58:47.981" v="6431" actId="1035"/>
          <ac:grpSpMkLst>
            <pc:docMk/>
            <pc:sldMk cId="801734895" sldId="273"/>
            <ac:grpSpMk id="48" creationId="{05FEF856-EFA3-48C8-9221-141B98EC40EB}"/>
          </ac:grpSpMkLst>
        </pc:grpChg>
        <pc:grpChg chg="add del mod ord">
          <ac:chgData name="Julius von Dryander" userId="f300f5c52e32c87c" providerId="LiveId" clId="{C79B15EC-F659-4664-80C3-541780282E28}" dt="2021-12-13T10:03:38.553" v="6400" actId="165"/>
          <ac:grpSpMkLst>
            <pc:docMk/>
            <pc:sldMk cId="801734895" sldId="273"/>
            <ac:grpSpMk id="52" creationId="{035C2719-CCA2-4ABB-93EA-8F8E68A856D3}"/>
          </ac:grpSpMkLst>
        </pc:grpChg>
        <pc:grpChg chg="del mod topLvl">
          <ac:chgData name="Julius von Dryander" userId="f300f5c52e32c87c" providerId="LiveId" clId="{C79B15EC-F659-4664-80C3-541780282E28}" dt="2021-12-13T11:00:27.027" v="6566" actId="165"/>
          <ac:grpSpMkLst>
            <pc:docMk/>
            <pc:sldMk cId="801734895" sldId="273"/>
            <ac:grpSpMk id="53" creationId="{EE64A81F-BE0E-4792-B943-F2A8F6767A9E}"/>
          </ac:grpSpMkLst>
        </pc:grpChg>
        <pc:graphicFrameChg chg="add mod ord modVis replST">
          <ac:chgData name="Julius von Dryander" userId="f300f5c52e32c87c" providerId="LiveId" clId="{C79B15EC-F659-4664-80C3-541780282E28}" dt="2021-12-11T12:22:25.237" v="1408"/>
          <ac:graphicFrameMkLst>
            <pc:docMk/>
            <pc:sldMk cId="801734895" sldId="273"/>
            <ac:graphicFrameMk id="7" creationId="{EC93E370-CBD9-45A8-9579-5097588E695E}"/>
          </ac:graphicFrameMkLst>
        </pc:graphicFrameChg>
        <pc:picChg chg="mod">
          <ac:chgData name="Julius von Dryander" userId="f300f5c52e32c87c" providerId="LiveId" clId="{C79B15EC-F659-4664-80C3-541780282E28}" dt="2021-12-11T12:22:25.231" v="1381"/>
          <ac:picMkLst>
            <pc:docMk/>
            <pc:sldMk cId="801734895" sldId="273"/>
            <ac:picMk id="38" creationId="{1B6B5432-64D8-472A-ABCD-1E30C2F30DEA}"/>
          </ac:picMkLst>
        </pc:picChg>
      </pc:sldChg>
      <pc:sldChg chg="addSp delSp modSp del mod ord modTransition modShow">
        <pc:chgData name="Julius von Dryander" userId="f300f5c52e32c87c" providerId="LiveId" clId="{C79B15EC-F659-4664-80C3-541780282E28}" dt="2021-12-13T10:04:26.132" v="6413" actId="47"/>
        <pc:sldMkLst>
          <pc:docMk/>
          <pc:sldMk cId="1203932121" sldId="293"/>
        </pc:sldMkLst>
        <pc:spChg chg="add mod">
          <ac:chgData name="Julius von Dryander" userId="f300f5c52e32c87c" providerId="LiveId" clId="{C79B15EC-F659-4664-80C3-541780282E28}" dt="2021-12-11T12:39:15.856" v="2177" actId="1076"/>
          <ac:spMkLst>
            <pc:docMk/>
            <pc:sldMk cId="1203932121" sldId="293"/>
            <ac:spMk id="2" creationId="{4118A38E-4A2B-4313-A328-D2BAC7AB6142}"/>
          </ac:spMkLst>
        </pc:spChg>
        <pc:spChg chg="add del mod">
          <ac:chgData name="Julius von Dryander" userId="f300f5c52e32c87c" providerId="LiveId" clId="{C79B15EC-F659-4664-80C3-541780282E28}" dt="2021-12-11T12:38:45.712" v="2102" actId="478"/>
          <ac:spMkLst>
            <pc:docMk/>
            <pc:sldMk cId="1203932121" sldId="293"/>
            <ac:spMk id="13" creationId="{DAB3C128-01E5-4656-B85C-096B66EC7E8E}"/>
          </ac:spMkLst>
        </pc:spChg>
        <pc:spChg chg="add mod">
          <ac:chgData name="Julius von Dryander" userId="f300f5c52e32c87c" providerId="LiveId" clId="{C79B15EC-F659-4664-80C3-541780282E28}" dt="2021-12-11T13:06:55.396" v="3831"/>
          <ac:spMkLst>
            <pc:docMk/>
            <pc:sldMk cId="1203932121" sldId="293"/>
            <ac:spMk id="19" creationId="{2A017587-E10F-4A1C-935D-11A5D9A64840}"/>
          </ac:spMkLst>
        </pc:spChg>
        <pc:picChg chg="add mod">
          <ac:chgData name="Julius von Dryander" userId="f300f5c52e32c87c" providerId="LiveId" clId="{C79B15EC-F659-4664-80C3-541780282E28}" dt="2021-12-11T13:06:55.396" v="3831"/>
          <ac:picMkLst>
            <pc:docMk/>
            <pc:sldMk cId="1203932121" sldId="293"/>
            <ac:picMk id="17" creationId="{790B2EB6-E2E4-4D52-B10C-7598D233D07B}"/>
          </ac:picMkLst>
        </pc:picChg>
        <pc:picChg chg="add del mod">
          <ac:chgData name="Julius von Dryander" userId="f300f5c52e32c87c" providerId="LiveId" clId="{C79B15EC-F659-4664-80C3-541780282E28}" dt="2021-12-12T19:02:36.888" v="4598" actId="21"/>
          <ac:picMkLst>
            <pc:docMk/>
            <pc:sldMk cId="1203932121" sldId="293"/>
            <ac:picMk id="21" creationId="{1F0C3C76-468B-4A29-A608-04E5D6AB41C3}"/>
          </ac:picMkLst>
        </pc:picChg>
      </pc:sldChg>
      <pc:sldChg chg="addSp delSp modSp mod">
        <pc:chgData name="Julius von Dryander" userId="f300f5c52e32c87c" providerId="LiveId" clId="{C79B15EC-F659-4664-80C3-541780282E28}" dt="2021-12-12T19:33:29.738" v="6226" actId="20577"/>
        <pc:sldMkLst>
          <pc:docMk/>
          <pc:sldMk cId="2033624841" sldId="294"/>
        </pc:sldMkLst>
        <pc:spChg chg="add del mod">
          <ac:chgData name="Julius von Dryander" userId="f300f5c52e32c87c" providerId="LiveId" clId="{C79B15EC-F659-4664-80C3-541780282E28}" dt="2021-12-12T19:00:21.664" v="4529" actId="478"/>
          <ac:spMkLst>
            <pc:docMk/>
            <pc:sldMk cId="2033624841" sldId="294"/>
            <ac:spMk id="10" creationId="{728018FB-01FA-4199-8841-D4D551DEB721}"/>
          </ac:spMkLst>
        </pc:spChg>
        <pc:spChg chg="mod">
          <ac:chgData name="Julius von Dryander" userId="f300f5c52e32c87c" providerId="LiveId" clId="{C79B15EC-F659-4664-80C3-541780282E28}" dt="2021-12-12T19:28:47.607" v="6105" actId="14100"/>
          <ac:spMkLst>
            <pc:docMk/>
            <pc:sldMk cId="2033624841" sldId="294"/>
            <ac:spMk id="30" creationId="{C675B636-E1EF-4D58-8A2C-4EB373FE6670}"/>
          </ac:spMkLst>
        </pc:spChg>
        <pc:spChg chg="mod">
          <ac:chgData name="Julius von Dryander" userId="f300f5c52e32c87c" providerId="LiveId" clId="{C79B15EC-F659-4664-80C3-541780282E28}" dt="2021-12-12T19:29:38.912" v="6219" actId="1037"/>
          <ac:spMkLst>
            <pc:docMk/>
            <pc:sldMk cId="2033624841" sldId="294"/>
            <ac:spMk id="36" creationId="{8F2709EB-F20D-48D4-96DA-AC861F4F9AC6}"/>
          </ac:spMkLst>
        </pc:spChg>
        <pc:spChg chg="add mod">
          <ac:chgData name="Julius von Dryander" userId="f300f5c52e32c87c" providerId="LiveId" clId="{C79B15EC-F659-4664-80C3-541780282E28}" dt="2021-12-11T12:41:05.740" v="2305" actId="1076"/>
          <ac:spMkLst>
            <pc:docMk/>
            <pc:sldMk cId="2033624841" sldId="294"/>
            <ac:spMk id="36" creationId="{F113129A-59CA-4E84-AEC4-B818D651D8D8}"/>
          </ac:spMkLst>
        </pc:spChg>
        <pc:spChg chg="add mod">
          <ac:chgData name="Julius von Dryander" userId="f300f5c52e32c87c" providerId="LiveId" clId="{C79B15EC-F659-4664-80C3-541780282E28}" dt="2021-12-11T12:41:03.758" v="2304" actId="1076"/>
          <ac:spMkLst>
            <pc:docMk/>
            <pc:sldMk cId="2033624841" sldId="294"/>
            <ac:spMk id="39" creationId="{31678F57-5E06-4B87-B7FF-98741850FD7C}"/>
          </ac:spMkLst>
        </pc:spChg>
        <pc:spChg chg="mod">
          <ac:chgData name="Julius von Dryander" userId="f300f5c52e32c87c" providerId="LiveId" clId="{C79B15EC-F659-4664-80C3-541780282E28}" dt="2021-12-12T19:29:38.912" v="6219" actId="1037"/>
          <ac:spMkLst>
            <pc:docMk/>
            <pc:sldMk cId="2033624841" sldId="294"/>
            <ac:spMk id="41" creationId="{99CE9F68-7729-473B-BB10-099A39D6770A}"/>
          </ac:spMkLst>
        </pc:spChg>
        <pc:spChg chg="mod">
          <ac:chgData name="Julius von Dryander" userId="f300f5c52e32c87c" providerId="LiveId" clId="{C79B15EC-F659-4664-80C3-541780282E28}" dt="2021-12-12T19:28:47.607" v="6105" actId="14100"/>
          <ac:spMkLst>
            <pc:docMk/>
            <pc:sldMk cId="2033624841" sldId="294"/>
            <ac:spMk id="48" creationId="{912B500B-6173-4761-8E55-F151F3F3702A}"/>
          </ac:spMkLst>
        </pc:spChg>
        <pc:spChg chg="mod">
          <ac:chgData name="Julius von Dryander" userId="f300f5c52e32c87c" providerId="LiveId" clId="{C79B15EC-F659-4664-80C3-541780282E28}" dt="2021-12-12T19:33:29.738" v="6226" actId="20577"/>
          <ac:spMkLst>
            <pc:docMk/>
            <pc:sldMk cId="2033624841" sldId="294"/>
            <ac:spMk id="53" creationId="{E3EA15EF-FC95-4AF3-90F0-FF01D64A41CC}"/>
          </ac:spMkLst>
        </pc:spChg>
      </pc:sldChg>
      <pc:sldChg chg="addSp delSp modSp add del mod ord modTransition modShow">
        <pc:chgData name="Julius von Dryander" userId="f300f5c52e32c87c" providerId="LiveId" clId="{C79B15EC-F659-4664-80C3-541780282E28}" dt="2021-12-13T10:04:26.132" v="6413" actId="47"/>
        <pc:sldMkLst>
          <pc:docMk/>
          <pc:sldMk cId="1780235161" sldId="295"/>
        </pc:sldMkLst>
        <pc:spChg chg="del">
          <ac:chgData name="Julius von Dryander" userId="f300f5c52e32c87c" providerId="LiveId" clId="{C79B15EC-F659-4664-80C3-541780282E28}" dt="2021-12-11T12:44:23.503" v="2323" actId="478"/>
          <ac:spMkLst>
            <pc:docMk/>
            <pc:sldMk cId="1780235161" sldId="295"/>
            <ac:spMk id="2" creationId="{4118A38E-4A2B-4313-A328-D2BAC7AB6142}"/>
          </ac:spMkLst>
        </pc:spChg>
        <pc:spChg chg="mod ord">
          <ac:chgData name="Julius von Dryander" userId="f300f5c52e32c87c" providerId="LiveId" clId="{C79B15EC-F659-4664-80C3-541780282E28}" dt="2021-12-11T12:55:39.114" v="3228"/>
          <ac:spMkLst>
            <pc:docMk/>
            <pc:sldMk cId="1780235161" sldId="295"/>
            <ac:spMk id="3" creationId="{2C9FAD69-8554-47D6-8A27-AA64DDAD34D6}"/>
          </ac:spMkLst>
        </pc:spChg>
        <pc:spChg chg="add mod or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5" creationId="{D9A6A986-DE3D-4BBF-93FD-CB716963A821}"/>
          </ac:spMkLst>
        </pc:spChg>
        <pc:spChg chg="mod ord">
          <ac:chgData name="Julius von Dryander" userId="f300f5c52e32c87c" providerId="LiveId" clId="{C79B15EC-F659-4664-80C3-541780282E28}" dt="2021-12-11T12:55:39.114" v="3232"/>
          <ac:spMkLst>
            <pc:docMk/>
            <pc:sldMk cId="1780235161" sldId="295"/>
            <ac:spMk id="12" creationId="{B09C5443-B13E-4131-A577-37C19D84313A}"/>
          </ac:spMkLst>
        </pc:spChg>
        <pc:spChg chg="add del mod ord">
          <ac:chgData name="Julius von Dryander" userId="f300f5c52e32c87c" providerId="LiveId" clId="{C79B15EC-F659-4664-80C3-541780282E28}" dt="2021-12-12T19:03:47.296" v="4636" actId="14100"/>
          <ac:spMkLst>
            <pc:docMk/>
            <pc:sldMk cId="1780235161" sldId="295"/>
            <ac:spMk id="13" creationId="{058688B6-0C20-4AB9-9D22-5FC91FDB8E67}"/>
          </ac:spMkLst>
        </pc:spChg>
        <pc:spChg chg="del mod ord">
          <ac:chgData name="Julius von Dryander" userId="f300f5c52e32c87c" providerId="LiveId" clId="{C79B15EC-F659-4664-80C3-541780282E28}" dt="2021-12-11T13:06:54.015" v="3830" actId="21"/>
          <ac:spMkLst>
            <pc:docMk/>
            <pc:sldMk cId="1780235161" sldId="295"/>
            <ac:spMk id="14" creationId="{542C5216-62E2-4611-92C9-BA7326CC1DC7}"/>
          </ac:spMkLst>
        </pc:spChg>
        <pc:spChg chg="mod ord">
          <ac:chgData name="Julius von Dryander" userId="f300f5c52e32c87c" providerId="LiveId" clId="{C79B15EC-F659-4664-80C3-541780282E28}" dt="2021-12-11T12:55:39.115" v="3234"/>
          <ac:spMkLst>
            <pc:docMk/>
            <pc:sldMk cId="1780235161" sldId="295"/>
            <ac:spMk id="15" creationId="{662B9F7B-AF65-4725-85AC-9ED030A6D13A}"/>
          </ac:spMkLst>
        </pc:spChg>
        <pc:spChg chg="mod ord">
          <ac:chgData name="Julius von Dryander" userId="f300f5c52e32c87c" providerId="LiveId" clId="{C79B15EC-F659-4664-80C3-541780282E28}" dt="2021-12-11T12:55:39.114" v="3230"/>
          <ac:spMkLst>
            <pc:docMk/>
            <pc:sldMk cId="1780235161" sldId="295"/>
            <ac:spMk id="16" creationId="{8A50BB08-8964-4DFB-AFFB-8C5DF81DE486}"/>
          </ac:spMkLst>
        </pc:spChg>
        <pc:spChg chg="mod ord">
          <ac:chgData name="Julius von Dryander" userId="f300f5c52e32c87c" providerId="LiveId" clId="{C79B15EC-F659-4664-80C3-541780282E28}" dt="2021-12-11T12:55:39.115" v="3237"/>
          <ac:spMkLst>
            <pc:docMk/>
            <pc:sldMk cId="1780235161" sldId="295"/>
            <ac:spMk id="20" creationId="{F4C7040B-1F71-4A80-A149-3A194D521A5D}"/>
          </ac:spMkLst>
        </pc:spChg>
        <pc:spChg chg="mod ord topLvl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21" creationId="{CD7BD810-4390-4D67-8764-3BC40F1B2FBC}"/>
          </ac:spMkLst>
        </pc:spChg>
        <pc:spChg chg="mo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22" creationId="{068A533B-B3E7-40F9-90ED-91B715A6D738}"/>
          </ac:spMkLst>
        </pc:spChg>
        <pc:spChg chg="mo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23" creationId="{2593F3B2-BD30-413A-A56C-2D8E74D43006}"/>
          </ac:spMkLst>
        </pc:spChg>
        <pc:spChg chg="add mod ord">
          <ac:chgData name="Julius von Dryander" userId="f300f5c52e32c87c" providerId="LiveId" clId="{C79B15EC-F659-4664-80C3-541780282E28}" dt="2021-12-12T19:04:40.735" v="4664" actId="6549"/>
          <ac:spMkLst>
            <pc:docMk/>
            <pc:sldMk cId="1780235161" sldId="295"/>
            <ac:spMk id="24" creationId="{E41BF43C-E6BA-46C1-8ADB-5DF3B79DBC62}"/>
          </ac:spMkLst>
        </pc:spChg>
        <pc:spChg chg="add mod ord">
          <ac:chgData name="Julius von Dryander" userId="f300f5c52e32c87c" providerId="LiveId" clId="{C79B15EC-F659-4664-80C3-541780282E28}" dt="2021-12-12T18:49:38.504" v="4235" actId="20577"/>
          <ac:spMkLst>
            <pc:docMk/>
            <pc:sldMk cId="1780235161" sldId="295"/>
            <ac:spMk id="25" creationId="{263BB1FE-D9D6-4746-BCBD-1B8B00593CAD}"/>
          </ac:spMkLst>
        </pc:spChg>
        <pc:spChg chg="add del mod">
          <ac:chgData name="Julius von Dryander" userId="f300f5c52e32c87c" providerId="LiveId" clId="{C79B15EC-F659-4664-80C3-541780282E28}" dt="2021-12-11T12:51:35.471" v="2937" actId="478"/>
          <ac:spMkLst>
            <pc:docMk/>
            <pc:sldMk cId="1780235161" sldId="295"/>
            <ac:spMk id="26" creationId="{83A44C3F-696F-43DB-9E96-D3BCDE5E2691}"/>
          </ac:spMkLst>
        </pc:spChg>
        <pc:spChg chg="mod">
          <ac:chgData name="Julius von Dryander" userId="f300f5c52e32c87c" providerId="LiveId" clId="{C79B15EC-F659-4664-80C3-541780282E28}" dt="2021-12-11T12:51:31.251" v="2935"/>
          <ac:spMkLst>
            <pc:docMk/>
            <pc:sldMk cId="1780235161" sldId="295"/>
            <ac:spMk id="28" creationId="{ADA2DE56-E839-4B12-8C1D-AAE3ED98546B}"/>
          </ac:spMkLst>
        </pc:spChg>
        <pc:spChg chg="mod">
          <ac:chgData name="Julius von Dryander" userId="f300f5c52e32c87c" providerId="LiveId" clId="{C79B15EC-F659-4664-80C3-541780282E28}" dt="2021-12-11T12:51:31.251" v="2935"/>
          <ac:spMkLst>
            <pc:docMk/>
            <pc:sldMk cId="1780235161" sldId="295"/>
            <ac:spMk id="29" creationId="{66987B7D-3C14-4043-8B78-51B8E0247AA8}"/>
          </ac:spMkLst>
        </pc:spChg>
        <pc:spChg chg="add mod ord">
          <ac:chgData name="Julius von Dryander" userId="f300f5c52e32c87c" providerId="LiveId" clId="{C79B15EC-F659-4664-80C3-541780282E28}" dt="2021-12-12T19:03:51.490" v="4637" actId="14100"/>
          <ac:spMkLst>
            <pc:docMk/>
            <pc:sldMk cId="1780235161" sldId="295"/>
            <ac:spMk id="30" creationId="{B99DA053-B23E-4855-ADE7-71F8275EE787}"/>
          </ac:spMkLst>
        </pc:spChg>
        <pc:spChg chg="mo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32" creationId="{3CECC745-DFCD-4EF3-B17F-A7AD98829E72}"/>
          </ac:spMkLst>
        </pc:spChg>
        <pc:spChg chg="mo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33" creationId="{2C8171F2-2D5D-401F-8752-CD958599CE9A}"/>
          </ac:spMkLst>
        </pc:spChg>
        <pc:spChg chg="add mod or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34" creationId="{A4905D79-023C-4A8D-9217-B9288B513675}"/>
          </ac:spMkLst>
        </pc:spChg>
        <pc:spChg chg="add del mod">
          <ac:chgData name="Julius von Dryander" userId="f300f5c52e32c87c" providerId="LiveId" clId="{C79B15EC-F659-4664-80C3-541780282E28}" dt="2021-12-11T12:52:24.425" v="2973"/>
          <ac:spMkLst>
            <pc:docMk/>
            <pc:sldMk cId="1780235161" sldId="295"/>
            <ac:spMk id="35" creationId="{8D55150B-FF13-4611-AFE2-D8A80B1D7A1B}"/>
          </ac:spMkLst>
        </pc:spChg>
        <pc:spChg chg="add mod ord">
          <ac:chgData name="Julius von Dryander" userId="f300f5c52e32c87c" providerId="LiveId" clId="{C79B15EC-F659-4664-80C3-541780282E28}" dt="2021-12-12T19:04:05.876" v="4650" actId="1035"/>
          <ac:spMkLst>
            <pc:docMk/>
            <pc:sldMk cId="1780235161" sldId="295"/>
            <ac:spMk id="36" creationId="{3A2B92C5-2965-42BD-8F2E-4C196448144E}"/>
          </ac:spMkLst>
        </pc:spChg>
        <pc:spChg chg="add mo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39" creationId="{EA28AE2F-A79D-4761-8896-3FEFCD57B1A1}"/>
          </ac:spMkLst>
        </pc:spChg>
        <pc:spChg chg="add mod ord">
          <ac:chgData name="Julius von Dryander" userId="f300f5c52e32c87c" providerId="LiveId" clId="{C79B15EC-F659-4664-80C3-541780282E28}" dt="2021-12-12T19:03:41.421" v="4635" actId="1035"/>
          <ac:spMkLst>
            <pc:docMk/>
            <pc:sldMk cId="1780235161" sldId="295"/>
            <ac:spMk id="40" creationId="{EEA35A9A-4A94-4527-8DDC-107F1987D190}"/>
          </ac:spMkLst>
        </pc:spChg>
        <pc:grpChg chg="add del mod">
          <ac:chgData name="Julius von Dryander" userId="f300f5c52e32c87c" providerId="LiveId" clId="{C79B15EC-F659-4664-80C3-541780282E28}" dt="2021-12-11T12:48:48.119" v="2725" actId="165"/>
          <ac:grpSpMkLst>
            <pc:docMk/>
            <pc:sldMk cId="1780235161" sldId="295"/>
            <ac:grpSpMk id="17" creationId="{5695A30C-B285-475A-AA28-D0B559AF90AE}"/>
          </ac:grpSpMkLst>
        </pc:grpChg>
        <pc:grpChg chg="mod ord topLvl">
          <ac:chgData name="Julius von Dryander" userId="f300f5c52e32c87c" providerId="LiveId" clId="{C79B15EC-F659-4664-80C3-541780282E28}" dt="2021-12-12T19:03:41.421" v="4635" actId="1035"/>
          <ac:grpSpMkLst>
            <pc:docMk/>
            <pc:sldMk cId="1780235161" sldId="295"/>
            <ac:grpSpMk id="19" creationId="{F0A483E4-0D4E-4239-ABDE-60318BC52574}"/>
          </ac:grpSpMkLst>
        </pc:grpChg>
        <pc:grpChg chg="add del mod">
          <ac:chgData name="Julius von Dryander" userId="f300f5c52e32c87c" providerId="LiveId" clId="{C79B15EC-F659-4664-80C3-541780282E28}" dt="2021-12-11T12:51:35.471" v="2937" actId="478"/>
          <ac:grpSpMkLst>
            <pc:docMk/>
            <pc:sldMk cId="1780235161" sldId="295"/>
            <ac:grpSpMk id="27" creationId="{5C1FFF34-B6D7-41F2-B5D4-25C03E96A759}"/>
          </ac:grpSpMkLst>
        </pc:grpChg>
        <pc:grpChg chg="add mod ord">
          <ac:chgData name="Julius von Dryander" userId="f300f5c52e32c87c" providerId="LiveId" clId="{C79B15EC-F659-4664-80C3-541780282E28}" dt="2021-12-12T19:03:41.421" v="4635" actId="1035"/>
          <ac:grpSpMkLst>
            <pc:docMk/>
            <pc:sldMk cId="1780235161" sldId="295"/>
            <ac:grpSpMk id="31" creationId="{0BF75634-B360-49AE-98BE-774E0D87E765}"/>
          </ac:grpSpMkLst>
        </pc:grpChg>
        <pc:graphicFrameChg chg="add mod ord modVis replST">
          <ac:chgData name="Julius von Dryander" userId="f300f5c52e32c87c" providerId="LiveId" clId="{C79B15EC-F659-4664-80C3-541780282E28}" dt="2021-12-11T12:55:39.151" v="3275"/>
          <ac:graphicFrameMkLst>
            <pc:docMk/>
            <pc:sldMk cId="1780235161" sldId="295"/>
            <ac:graphicFrameMk id="4" creationId="{9D6F3C97-57CA-45C5-9CA9-041D656405E9}"/>
          </ac:graphicFrameMkLst>
        </pc:graphicFrameChg>
        <pc:picChg chg="del mod">
          <ac:chgData name="Julius von Dryander" userId="f300f5c52e32c87c" providerId="LiveId" clId="{C79B15EC-F659-4664-80C3-541780282E28}" dt="2021-12-12T18:53:36.281" v="4520" actId="21"/>
          <ac:picMkLst>
            <pc:docMk/>
            <pc:sldMk cId="1780235161" sldId="295"/>
            <ac:picMk id="6" creationId="{DEF26F0A-62BB-4BEF-8018-C22A833F285C}"/>
          </ac:picMkLst>
        </pc:picChg>
        <pc:picChg chg="del mod ord">
          <ac:chgData name="Julius von Dryander" userId="f300f5c52e32c87c" providerId="LiveId" clId="{C79B15EC-F659-4664-80C3-541780282E28}" dt="2021-12-11T13:06:54.015" v="3830" actId="21"/>
          <ac:picMkLst>
            <pc:docMk/>
            <pc:sldMk cId="1780235161" sldId="295"/>
            <ac:picMk id="11" creationId="{7D661ABF-0849-45DA-9795-42CA7AB20669}"/>
          </ac:picMkLst>
        </pc:picChg>
        <pc:picChg chg="mod">
          <ac:chgData name="Julius von Dryander" userId="f300f5c52e32c87c" providerId="LiveId" clId="{C79B15EC-F659-4664-80C3-541780282E28}" dt="2021-12-11T12:55:39.115" v="3235"/>
          <ac:picMkLst>
            <pc:docMk/>
            <pc:sldMk cId="1780235161" sldId="295"/>
            <ac:picMk id="18" creationId="{0A2B12FB-A35A-4BEC-96C6-FD0A61AD125F}"/>
          </ac:picMkLst>
        </pc:picChg>
        <pc:picChg chg="add mod modCrop">
          <ac:chgData name="Julius von Dryander" userId="f300f5c52e32c87c" providerId="LiveId" clId="{C79B15EC-F659-4664-80C3-541780282E28}" dt="2021-12-12T19:05:06.856" v="4665" actId="1076"/>
          <ac:picMkLst>
            <pc:docMk/>
            <pc:sldMk cId="1780235161" sldId="295"/>
            <ac:picMk id="29" creationId="{644E710B-5FA3-48A6-B406-8ADFDFED593D}"/>
          </ac:picMkLst>
        </pc:picChg>
        <pc:picChg chg="add mod">
          <ac:chgData name="Julius von Dryander" userId="f300f5c52e32c87c" providerId="LiveId" clId="{C79B15EC-F659-4664-80C3-541780282E28}" dt="2021-12-12T19:03:41.421" v="4635" actId="1035"/>
          <ac:picMkLst>
            <pc:docMk/>
            <pc:sldMk cId="1780235161" sldId="295"/>
            <ac:picMk id="37" creationId="{42D6F8C2-5A99-4900-93D8-8B4FD19DDBE9}"/>
          </ac:picMkLst>
        </pc:picChg>
        <pc:picChg chg="add mod">
          <ac:chgData name="Julius von Dryander" userId="f300f5c52e32c87c" providerId="LiveId" clId="{C79B15EC-F659-4664-80C3-541780282E28}" dt="2021-12-12T19:03:41.421" v="4635" actId="1035"/>
          <ac:picMkLst>
            <pc:docMk/>
            <pc:sldMk cId="1780235161" sldId="295"/>
            <ac:picMk id="38" creationId="{E5F3E53D-B1AF-44F8-A7E9-7334FA4F2878}"/>
          </ac:picMkLst>
        </pc:picChg>
        <pc:picChg chg="mod">
          <ac:chgData name="Julius von Dryander" userId="f300f5c52e32c87c" providerId="LiveId" clId="{C79B15EC-F659-4664-80C3-541780282E28}" dt="2021-12-12T19:03:41.421" v="4635" actId="1035"/>
          <ac:picMkLst>
            <pc:docMk/>
            <pc:sldMk cId="1780235161" sldId="295"/>
            <ac:picMk id="3076" creationId="{D349883A-49A9-4C19-9D98-CFA22614C19E}"/>
          </ac:picMkLst>
        </pc:picChg>
      </pc:sldChg>
      <pc:sldChg chg="addSp delSp modSp add mod">
        <pc:chgData name="Julius von Dryander" userId="f300f5c52e32c87c" providerId="LiveId" clId="{C79B15EC-F659-4664-80C3-541780282E28}" dt="2021-12-13T11:03:54.060" v="6938" actId="478"/>
        <pc:sldMkLst>
          <pc:docMk/>
          <pc:sldMk cId="3362921512" sldId="296"/>
        </pc:sldMkLst>
        <pc:spChg chg="add mod">
          <ac:chgData name="Julius von Dryander" userId="f300f5c52e32c87c" providerId="LiveId" clId="{C79B15EC-F659-4664-80C3-541780282E28}" dt="2021-12-12T19:07:57.904" v="4787" actId="1037"/>
          <ac:spMkLst>
            <pc:docMk/>
            <pc:sldMk cId="3362921512" sldId="296"/>
            <ac:spMk id="2" creationId="{183CF2EF-2E68-4893-B12C-D704F8365E5F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3" creationId="{2C9FAD69-8554-47D6-8A27-AA64DDAD34D6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5" creationId="{D9A6A986-DE3D-4BBF-93FD-CB716963A821}"/>
          </ac:spMkLst>
        </pc:spChg>
        <pc:spChg chg="add del mod">
          <ac:chgData name="Julius von Dryander" userId="f300f5c52e32c87c" providerId="LiveId" clId="{C79B15EC-F659-4664-80C3-541780282E28}" dt="2021-12-12T19:14:40.755" v="5480" actId="478"/>
          <ac:spMkLst>
            <pc:docMk/>
            <pc:sldMk cId="3362921512" sldId="296"/>
            <ac:spMk id="9" creationId="{3BF0BEE6-325F-4BF6-87C6-2266CC802EC3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12" creationId="{B09C5443-B13E-4131-A577-37C19D84313A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13" creationId="{058688B6-0C20-4AB9-9D22-5FC91FDB8E67}"/>
          </ac:spMkLst>
        </pc:spChg>
        <pc:spChg chg="mod">
          <ac:chgData name="Julius von Dryander" userId="f300f5c52e32c87c" providerId="LiveId" clId="{C79B15EC-F659-4664-80C3-541780282E28}" dt="2021-12-13T11:02:17.322" v="6771" actId="20577"/>
          <ac:spMkLst>
            <pc:docMk/>
            <pc:sldMk cId="3362921512" sldId="296"/>
            <ac:spMk id="15" creationId="{662B9F7B-AF65-4725-85AC-9ED030A6D13A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16" creationId="{8A50BB08-8964-4DFB-AFFB-8C5DF81DE486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20" creationId="{F4C7040B-1F71-4A80-A149-3A194D521A5D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21" creationId="{CD7BD810-4390-4D67-8764-3BC40F1B2FBC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22" creationId="{068A533B-B3E7-40F9-90ED-91B715A6D738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23" creationId="{2593F3B2-BD30-413A-A56C-2D8E74D43006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24" creationId="{E41BF43C-E6BA-46C1-8ADB-5DF3B79DBC62}"/>
          </ac:spMkLst>
        </pc:spChg>
        <pc:spChg chg="mod">
          <ac:chgData name="Julius von Dryander" userId="f300f5c52e32c87c" providerId="LiveId" clId="{C79B15EC-F659-4664-80C3-541780282E28}" dt="2021-12-13T11:02:28.086" v="6774"/>
          <ac:spMkLst>
            <pc:docMk/>
            <pc:sldMk cId="3362921512" sldId="296"/>
            <ac:spMk id="25" creationId="{263BB1FE-D9D6-4746-BCBD-1B8B00593CAD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30" creationId="{B99DA053-B23E-4855-ADE7-71F8275EE787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32" creationId="{3CECC745-DFCD-4EF3-B17F-A7AD98829E72}"/>
          </ac:spMkLst>
        </pc:spChg>
        <pc:spChg chg="mod">
          <ac:chgData name="Julius von Dryander" userId="f300f5c52e32c87c" providerId="LiveId" clId="{C79B15EC-F659-4664-80C3-541780282E28}" dt="2021-12-12T19:05:08.564" v="4667"/>
          <ac:spMkLst>
            <pc:docMk/>
            <pc:sldMk cId="3362921512" sldId="296"/>
            <ac:spMk id="33" creationId="{2C8171F2-2D5D-401F-8752-CD958599CE9A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34" creationId="{A4905D79-023C-4A8D-9217-B9288B513675}"/>
          </ac:spMkLst>
        </pc:spChg>
        <pc:spChg chg="add mod">
          <ac:chgData name="Julius von Dryander" userId="f300f5c52e32c87c" providerId="LiveId" clId="{C79B15EC-F659-4664-80C3-541780282E28}" dt="2021-12-12T19:06:38.294" v="4739" actId="1037"/>
          <ac:spMkLst>
            <pc:docMk/>
            <pc:sldMk cId="3362921512" sldId="296"/>
            <ac:spMk id="35" creationId="{9A6E424C-0997-47EB-88E6-8D84F5B577FE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36" creationId="{3A2B92C5-2965-42BD-8F2E-4C196448144E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39" creationId="{EA28AE2F-A79D-4761-8896-3FEFCD57B1A1}"/>
          </ac:spMkLst>
        </pc:spChg>
        <pc:spChg chg="del mod">
          <ac:chgData name="Julius von Dryander" userId="f300f5c52e32c87c" providerId="LiveId" clId="{C79B15EC-F659-4664-80C3-541780282E28}" dt="2021-12-12T19:05:20.695" v="4668" actId="478"/>
          <ac:spMkLst>
            <pc:docMk/>
            <pc:sldMk cId="3362921512" sldId="296"/>
            <ac:spMk id="40" creationId="{EEA35A9A-4A94-4527-8DDC-107F1987D190}"/>
          </ac:spMkLst>
        </pc:spChg>
        <pc:spChg chg="add mod topLvl">
          <ac:chgData name="Julius von Dryander" userId="f300f5c52e32c87c" providerId="LiveId" clId="{C79B15EC-F659-4664-80C3-541780282E28}" dt="2021-12-12T19:11:49.803" v="5327" actId="165"/>
          <ac:spMkLst>
            <pc:docMk/>
            <pc:sldMk cId="3362921512" sldId="296"/>
            <ac:spMk id="41" creationId="{33E72A99-466A-4E02-B88B-46B569B63887}"/>
          </ac:spMkLst>
        </pc:spChg>
        <pc:spChg chg="del">
          <ac:chgData name="Julius von Dryander" userId="f300f5c52e32c87c" providerId="LiveId" clId="{C79B15EC-F659-4664-80C3-541780282E28}" dt="2021-12-13T11:02:30.911" v="6775" actId="478"/>
          <ac:spMkLst>
            <pc:docMk/>
            <pc:sldMk cId="3362921512" sldId="296"/>
            <ac:spMk id="42" creationId="{DD784115-A018-9C46-8DEA-4755544A3042}"/>
          </ac:spMkLst>
        </pc:spChg>
        <pc:spChg chg="mod topLvl">
          <ac:chgData name="Julius von Dryander" userId="f300f5c52e32c87c" providerId="LiveId" clId="{C79B15EC-F659-4664-80C3-541780282E28}" dt="2021-12-12T19:27:39.565" v="6025" actId="20577"/>
          <ac:spMkLst>
            <pc:docMk/>
            <pc:sldMk cId="3362921512" sldId="296"/>
            <ac:spMk id="44" creationId="{6376066C-E7E5-46BF-AD2A-089A181C05EB}"/>
          </ac:spMkLst>
        </pc:spChg>
        <pc:spChg chg="mod">
          <ac:chgData name="Julius von Dryander" userId="f300f5c52e32c87c" providerId="LiveId" clId="{C79B15EC-F659-4664-80C3-541780282E28}" dt="2021-12-12T19:11:55.810" v="5330" actId="165"/>
          <ac:spMkLst>
            <pc:docMk/>
            <pc:sldMk cId="3362921512" sldId="296"/>
            <ac:spMk id="45" creationId="{6624B8E3-4726-45A1-AD45-3F9B1D3D3E7B}"/>
          </ac:spMkLst>
        </pc:spChg>
        <pc:spChg chg="mod">
          <ac:chgData name="Julius von Dryander" userId="f300f5c52e32c87c" providerId="LiveId" clId="{C79B15EC-F659-4664-80C3-541780282E28}" dt="2021-12-12T19:11:55.810" v="5330" actId="165"/>
          <ac:spMkLst>
            <pc:docMk/>
            <pc:sldMk cId="3362921512" sldId="296"/>
            <ac:spMk id="46" creationId="{CE509E6D-E791-499B-B7A6-E73550FC05F4}"/>
          </ac:spMkLst>
        </pc:spChg>
        <pc:spChg chg="add mod topLvl">
          <ac:chgData name="Julius von Dryander" userId="f300f5c52e32c87c" providerId="LiveId" clId="{C79B15EC-F659-4664-80C3-541780282E28}" dt="2021-12-12T19:11:28.931" v="5321" actId="165"/>
          <ac:spMkLst>
            <pc:docMk/>
            <pc:sldMk cId="3362921512" sldId="296"/>
            <ac:spMk id="47" creationId="{A9999AFB-4F85-425A-AB1E-31E4C6B7C3E2}"/>
          </ac:spMkLst>
        </pc:spChg>
        <pc:spChg chg="mod topLvl">
          <ac:chgData name="Julius von Dryander" userId="f300f5c52e32c87c" providerId="LiveId" clId="{C79B15EC-F659-4664-80C3-541780282E28}" dt="2021-12-12T19:27:32.820" v="6019" actId="20577"/>
          <ac:spMkLst>
            <pc:docMk/>
            <pc:sldMk cId="3362921512" sldId="296"/>
            <ac:spMk id="50" creationId="{40CF9613-5E7F-4DEA-BD2C-2073B564B5EF}"/>
          </ac:spMkLst>
        </pc:spChg>
        <pc:spChg chg="mod">
          <ac:chgData name="Julius von Dryander" userId="f300f5c52e32c87c" providerId="LiveId" clId="{C79B15EC-F659-4664-80C3-541780282E28}" dt="2021-12-12T19:11:37.888" v="5322" actId="165"/>
          <ac:spMkLst>
            <pc:docMk/>
            <pc:sldMk cId="3362921512" sldId="296"/>
            <ac:spMk id="51" creationId="{C4B390DF-BD63-4AAE-93FD-556D7323FDCE}"/>
          </ac:spMkLst>
        </pc:spChg>
        <pc:spChg chg="mod">
          <ac:chgData name="Julius von Dryander" userId="f300f5c52e32c87c" providerId="LiveId" clId="{C79B15EC-F659-4664-80C3-541780282E28}" dt="2021-12-12T19:11:37.888" v="5322" actId="165"/>
          <ac:spMkLst>
            <pc:docMk/>
            <pc:sldMk cId="3362921512" sldId="296"/>
            <ac:spMk id="52" creationId="{204D16B6-D4F7-4A4B-813C-A492F73E91B4}"/>
          </ac:spMkLst>
        </pc:spChg>
        <pc:spChg chg="add mod topLvl">
          <ac:chgData name="Julius von Dryander" userId="f300f5c52e32c87c" providerId="LiveId" clId="{C79B15EC-F659-4664-80C3-541780282E28}" dt="2021-12-12T19:12:14.357" v="5337" actId="165"/>
          <ac:spMkLst>
            <pc:docMk/>
            <pc:sldMk cId="3362921512" sldId="296"/>
            <ac:spMk id="53" creationId="{1322E1C5-1224-4C54-B6FF-B53F6573A8E8}"/>
          </ac:spMkLst>
        </pc:spChg>
        <pc:spChg chg="mod">
          <ac:chgData name="Julius von Dryander" userId="f300f5c52e32c87c" providerId="LiveId" clId="{C79B15EC-F659-4664-80C3-541780282E28}" dt="2021-12-13T10:02:29.618" v="6380"/>
          <ac:spMkLst>
            <pc:docMk/>
            <pc:sldMk cId="3362921512" sldId="296"/>
            <ac:spMk id="54" creationId="{77A0F3DF-5675-4CFA-B540-CCBCBCBA98B3}"/>
          </ac:spMkLst>
        </pc:spChg>
        <pc:spChg chg="add del mod">
          <ac:chgData name="Julius von Dryander" userId="f300f5c52e32c87c" providerId="LiveId" clId="{C79B15EC-F659-4664-80C3-541780282E28}" dt="2021-12-12T19:06:22.599" v="4721" actId="478"/>
          <ac:spMkLst>
            <pc:docMk/>
            <pc:sldMk cId="3362921512" sldId="296"/>
            <ac:spMk id="54" creationId="{D6CDD479-49AE-4610-829E-8A14B5429287}"/>
          </ac:spMkLst>
        </pc:spChg>
        <pc:spChg chg="add del mod">
          <ac:chgData name="Julius von Dryander" userId="f300f5c52e32c87c" providerId="LiveId" clId="{C79B15EC-F659-4664-80C3-541780282E28}" dt="2021-12-12T19:10:54.414" v="5237" actId="478"/>
          <ac:spMkLst>
            <pc:docMk/>
            <pc:sldMk cId="3362921512" sldId="296"/>
            <ac:spMk id="55" creationId="{8300E60C-0093-4C9C-8C41-5511F6B9DDAE}"/>
          </ac:spMkLst>
        </pc:spChg>
        <pc:spChg chg="del">
          <ac:chgData name="Julius von Dryander" userId="f300f5c52e32c87c" providerId="LiveId" clId="{C79B15EC-F659-4664-80C3-541780282E28}" dt="2021-12-13T11:02:32.807" v="6776" actId="478"/>
          <ac:spMkLst>
            <pc:docMk/>
            <pc:sldMk cId="3362921512" sldId="296"/>
            <ac:spMk id="55" creationId="{8354E5B1-E675-3144-A89E-65998EFF427B}"/>
          </ac:spMkLst>
        </pc:spChg>
        <pc:spChg chg="add del mod">
          <ac:chgData name="Julius von Dryander" userId="f300f5c52e32c87c" providerId="LiveId" clId="{C79B15EC-F659-4664-80C3-541780282E28}" dt="2021-12-12T19:09:01.896" v="4843" actId="478"/>
          <ac:spMkLst>
            <pc:docMk/>
            <pc:sldMk cId="3362921512" sldId="296"/>
            <ac:spMk id="56" creationId="{710687BE-2C14-4FC2-BD1C-1D145032FB61}"/>
          </ac:spMkLst>
        </pc:spChg>
        <pc:spChg chg="del">
          <ac:chgData name="Julius von Dryander" userId="f300f5c52e32c87c" providerId="LiveId" clId="{C79B15EC-F659-4664-80C3-541780282E28}" dt="2021-12-13T11:02:30.911" v="6775" actId="478"/>
          <ac:spMkLst>
            <pc:docMk/>
            <pc:sldMk cId="3362921512" sldId="296"/>
            <ac:spMk id="56" creationId="{DB5CDBD0-15F7-B341-8AE6-A862DEE57F0E}"/>
          </ac:spMkLst>
        </pc:spChg>
        <pc:spChg chg="mod">
          <ac:chgData name="Julius von Dryander" userId="f300f5c52e32c87c" providerId="LiveId" clId="{C79B15EC-F659-4664-80C3-541780282E28}" dt="2021-12-13T11:02:15.302" v="6770" actId="20577"/>
          <ac:spMkLst>
            <pc:docMk/>
            <pc:sldMk cId="3362921512" sldId="296"/>
            <ac:spMk id="59" creationId="{19BE62BF-E05E-4A34-A105-50693EFE68C8}"/>
          </ac:spMkLst>
        </pc:spChg>
        <pc:spChg chg="mod">
          <ac:chgData name="Julius von Dryander" userId="f300f5c52e32c87c" providerId="LiveId" clId="{C79B15EC-F659-4664-80C3-541780282E28}" dt="2021-12-12T19:12:14.357" v="5337" actId="165"/>
          <ac:spMkLst>
            <pc:docMk/>
            <pc:sldMk cId="3362921512" sldId="296"/>
            <ac:spMk id="60" creationId="{BAA574E2-2023-46B4-BC7C-4C4ED956161A}"/>
          </ac:spMkLst>
        </pc:spChg>
        <pc:spChg chg="mod">
          <ac:chgData name="Julius von Dryander" userId="f300f5c52e32c87c" providerId="LiveId" clId="{C79B15EC-F659-4664-80C3-541780282E28}" dt="2021-12-12T19:12:14.357" v="5337" actId="165"/>
          <ac:spMkLst>
            <pc:docMk/>
            <pc:sldMk cId="3362921512" sldId="296"/>
            <ac:spMk id="61" creationId="{034C7ED8-B0C7-4F76-A467-3D0AFD83F179}"/>
          </ac:spMkLst>
        </pc:spChg>
        <pc:spChg chg="add mod">
          <ac:chgData name="Julius von Dryander" userId="f300f5c52e32c87c" providerId="LiveId" clId="{C79B15EC-F659-4664-80C3-541780282E28}" dt="2021-12-12T19:08:37.634" v="4814"/>
          <ac:spMkLst>
            <pc:docMk/>
            <pc:sldMk cId="3362921512" sldId="296"/>
            <ac:spMk id="62" creationId="{A0C14C94-D661-4346-B5DA-FE4E0E0A3237}"/>
          </ac:spMkLst>
        </pc:spChg>
        <pc:spChg chg="add mod">
          <ac:chgData name="Julius von Dryander" userId="f300f5c52e32c87c" providerId="LiveId" clId="{C79B15EC-F659-4664-80C3-541780282E28}" dt="2021-12-13T10:04:37.268" v="6414" actId="20577"/>
          <ac:spMkLst>
            <pc:docMk/>
            <pc:sldMk cId="3362921512" sldId="296"/>
            <ac:spMk id="66" creationId="{BBD5EF19-E158-4AB0-B9E2-DFA29762C00F}"/>
          </ac:spMkLst>
        </pc:spChg>
        <pc:spChg chg="add mod">
          <ac:chgData name="Julius von Dryander" userId="f300f5c52e32c87c" providerId="LiveId" clId="{C79B15EC-F659-4664-80C3-541780282E28}" dt="2021-12-12T19:10:50.341" v="5236" actId="1035"/>
          <ac:spMkLst>
            <pc:docMk/>
            <pc:sldMk cId="3362921512" sldId="296"/>
            <ac:spMk id="67" creationId="{5539B791-8F08-43CF-A73F-3D37E00BD710}"/>
          </ac:spMkLst>
        </pc:spChg>
        <pc:spChg chg="add mod">
          <ac:chgData name="Julius von Dryander" userId="f300f5c52e32c87c" providerId="LiveId" clId="{C79B15EC-F659-4664-80C3-541780282E28}" dt="2021-12-12T19:10:50.341" v="5236" actId="1035"/>
          <ac:spMkLst>
            <pc:docMk/>
            <pc:sldMk cId="3362921512" sldId="296"/>
            <ac:spMk id="68" creationId="{F5634255-858A-48DA-B36D-3B55BD8A6EE9}"/>
          </ac:spMkLst>
        </pc:spChg>
        <pc:spChg chg="add del mod">
          <ac:chgData name="Julius von Dryander" userId="f300f5c52e32c87c" providerId="LiveId" clId="{C79B15EC-F659-4664-80C3-541780282E28}" dt="2021-12-12T19:10:42.278" v="5209" actId="478"/>
          <ac:spMkLst>
            <pc:docMk/>
            <pc:sldMk cId="3362921512" sldId="296"/>
            <ac:spMk id="69" creationId="{1A97EB2F-AA3F-49C0-8462-C75FF20D6D29}"/>
          </ac:spMkLst>
        </pc:spChg>
        <pc:spChg chg="del mod">
          <ac:chgData name="Julius von Dryander" userId="f300f5c52e32c87c" providerId="LiveId" clId="{C79B15EC-F659-4664-80C3-541780282E28}" dt="2021-12-13T11:02:53.434" v="6815" actId="478"/>
          <ac:spMkLst>
            <pc:docMk/>
            <pc:sldMk cId="3362921512" sldId="296"/>
            <ac:spMk id="69" creationId="{CE95F6B3-EEFE-EC4B-9547-0676D5360974}"/>
          </ac:spMkLst>
        </pc:spChg>
        <pc:spChg chg="add mod">
          <ac:chgData name="Julius von Dryander" userId="f300f5c52e32c87c" providerId="LiveId" clId="{C79B15EC-F659-4664-80C3-541780282E28}" dt="2021-12-13T11:03:51.954" v="6937"/>
          <ac:spMkLst>
            <pc:docMk/>
            <pc:sldMk cId="3362921512" sldId="296"/>
            <ac:spMk id="70" creationId="{FE30978E-7612-4A21-9E96-D6563F367FE7}"/>
          </ac:spMkLst>
        </pc:spChg>
        <pc:spChg chg="add mod topLvl">
          <ac:chgData name="Julius von Dryander" userId="f300f5c52e32c87c" providerId="LiveId" clId="{C79B15EC-F659-4664-80C3-541780282E28}" dt="2021-12-13T10:02:42.280" v="6384"/>
          <ac:spMkLst>
            <pc:docMk/>
            <pc:sldMk cId="3362921512" sldId="296"/>
            <ac:spMk id="71" creationId="{DFE6D03E-2108-40DC-83EE-3CBEDF2050B2}"/>
          </ac:spMkLst>
        </pc:spChg>
        <pc:spChg chg="add mod topLvl">
          <ac:chgData name="Julius von Dryander" userId="f300f5c52e32c87c" providerId="LiveId" clId="{C79B15EC-F659-4664-80C3-541780282E28}" dt="2021-12-13T10:02:42.280" v="6384"/>
          <ac:spMkLst>
            <pc:docMk/>
            <pc:sldMk cId="3362921512" sldId="296"/>
            <ac:spMk id="72" creationId="{02FAB249-352B-4C66-9E53-2CBEF0C3ACB7}"/>
          </ac:spMkLst>
        </pc:spChg>
        <pc:spChg chg="del mod">
          <ac:chgData name="Julius von Dryander" userId="f300f5c52e32c87c" providerId="LiveId" clId="{C79B15EC-F659-4664-80C3-541780282E28}" dt="2021-12-13T11:03:54.060" v="6938" actId="478"/>
          <ac:spMkLst>
            <pc:docMk/>
            <pc:sldMk cId="3362921512" sldId="296"/>
            <ac:spMk id="73" creationId="{CF6E3C4C-9F64-1D4F-B261-1B29816237C5}"/>
          </ac:spMkLst>
        </pc:spChg>
        <pc:grpChg chg="mod">
          <ac:chgData name="Julius von Dryander" userId="f300f5c52e32c87c" providerId="LiveId" clId="{C79B15EC-F659-4664-80C3-541780282E28}" dt="2021-12-12T19:05:08.564" v="4667"/>
          <ac:grpSpMkLst>
            <pc:docMk/>
            <pc:sldMk cId="3362921512" sldId="296"/>
            <ac:grpSpMk id="1" creationId="{00000000-0000-0000-0000-000000000000}"/>
          </ac:grpSpMkLst>
        </pc:grpChg>
        <pc:grpChg chg="add del mod">
          <ac:chgData name="Julius von Dryander" userId="f300f5c52e32c87c" providerId="LiveId" clId="{C79B15EC-F659-4664-80C3-541780282E28}" dt="2021-12-12T19:12:14.357" v="5337" actId="165"/>
          <ac:grpSpMkLst>
            <pc:docMk/>
            <pc:sldMk cId="3362921512" sldId="296"/>
            <ac:grpSpMk id="6" creationId="{FCDEFA5B-E246-4203-A595-F3CC57ACBCED}"/>
          </ac:grpSpMkLst>
        </pc:grpChg>
        <pc:grpChg chg="add del mod">
          <ac:chgData name="Julius von Dryander" userId="f300f5c52e32c87c" providerId="LiveId" clId="{C79B15EC-F659-4664-80C3-541780282E28}" dt="2021-12-12T19:11:28.931" v="5321" actId="165"/>
          <ac:grpSpMkLst>
            <pc:docMk/>
            <pc:sldMk cId="3362921512" sldId="296"/>
            <ac:grpSpMk id="7" creationId="{DF415EFC-4096-4BFE-819E-DBCCAB5479C8}"/>
          </ac:grpSpMkLst>
        </pc:grpChg>
        <pc:grpChg chg="add del mod">
          <ac:chgData name="Julius von Dryander" userId="f300f5c52e32c87c" providerId="LiveId" clId="{C79B15EC-F659-4664-80C3-541780282E28}" dt="2021-12-12T19:11:49.803" v="5327" actId="165"/>
          <ac:grpSpMkLst>
            <pc:docMk/>
            <pc:sldMk cId="3362921512" sldId="296"/>
            <ac:grpSpMk id="8" creationId="{53CC2F15-4E8F-44DC-A37C-34F810E6DEBE}"/>
          </ac:grpSpMkLst>
        </pc:grpChg>
        <pc:grpChg chg="add del mod">
          <ac:chgData name="Julius von Dryander" userId="f300f5c52e32c87c" providerId="LiveId" clId="{C79B15EC-F659-4664-80C3-541780282E28}" dt="2021-12-12T19:19:50.468" v="5724" actId="165"/>
          <ac:grpSpMkLst>
            <pc:docMk/>
            <pc:sldMk cId="3362921512" sldId="296"/>
            <ac:grpSpMk id="10" creationId="{A3D5F5E4-2487-43F5-BE90-11427ABB3F8B}"/>
          </ac:grpSpMkLst>
        </pc:grpChg>
        <pc:grpChg chg="add mod">
          <ac:chgData name="Julius von Dryander" userId="f300f5c52e32c87c" providerId="LiveId" clId="{C79B15EC-F659-4664-80C3-541780282E28}" dt="2021-12-13T10:02:42.280" v="6384"/>
          <ac:grpSpMkLst>
            <pc:docMk/>
            <pc:sldMk cId="3362921512" sldId="296"/>
            <ac:grpSpMk id="11" creationId="{D4791EE6-31BA-49A2-9B83-6858274A49CF}"/>
          </ac:grpSpMkLst>
        </pc:grpChg>
        <pc:grpChg chg="del mod">
          <ac:chgData name="Julius von Dryander" userId="f300f5c52e32c87c" providerId="LiveId" clId="{C79B15EC-F659-4664-80C3-541780282E28}" dt="2021-12-12T19:05:20.695" v="4668" actId="478"/>
          <ac:grpSpMkLst>
            <pc:docMk/>
            <pc:sldMk cId="3362921512" sldId="296"/>
            <ac:grpSpMk id="19" creationId="{F0A483E4-0D4E-4239-ABDE-60318BC52574}"/>
          </ac:grpSpMkLst>
        </pc:grpChg>
        <pc:grpChg chg="del mod">
          <ac:chgData name="Julius von Dryander" userId="f300f5c52e32c87c" providerId="LiveId" clId="{C79B15EC-F659-4664-80C3-541780282E28}" dt="2021-12-12T19:05:20.695" v="4668" actId="478"/>
          <ac:grpSpMkLst>
            <pc:docMk/>
            <pc:sldMk cId="3362921512" sldId="296"/>
            <ac:grpSpMk id="31" creationId="{0BF75634-B360-49AE-98BE-774E0D87E765}"/>
          </ac:grpSpMkLst>
        </pc:grpChg>
        <pc:grpChg chg="add del mod topLvl">
          <ac:chgData name="Julius von Dryander" userId="f300f5c52e32c87c" providerId="LiveId" clId="{C79B15EC-F659-4664-80C3-541780282E28}" dt="2021-12-12T19:11:55.810" v="5330" actId="165"/>
          <ac:grpSpMkLst>
            <pc:docMk/>
            <pc:sldMk cId="3362921512" sldId="296"/>
            <ac:grpSpMk id="42" creationId="{E0250420-4397-46DE-9A0C-70066FC2038A}"/>
          </ac:grpSpMkLst>
        </pc:grpChg>
        <pc:grpChg chg="mod topLvl">
          <ac:chgData name="Julius von Dryander" userId="f300f5c52e32c87c" providerId="LiveId" clId="{C79B15EC-F659-4664-80C3-541780282E28}" dt="2021-12-12T19:12:19.911" v="5365" actId="14100"/>
          <ac:grpSpMkLst>
            <pc:docMk/>
            <pc:sldMk cId="3362921512" sldId="296"/>
            <ac:grpSpMk id="43" creationId="{53B735C2-6365-43B4-BB8D-0E1A1F2EB68D}"/>
          </ac:grpSpMkLst>
        </pc:grpChg>
        <pc:grpChg chg="add del mod topLvl">
          <ac:chgData name="Julius von Dryander" userId="f300f5c52e32c87c" providerId="LiveId" clId="{C79B15EC-F659-4664-80C3-541780282E28}" dt="2021-12-12T19:11:37.888" v="5322" actId="165"/>
          <ac:grpSpMkLst>
            <pc:docMk/>
            <pc:sldMk cId="3362921512" sldId="296"/>
            <ac:grpSpMk id="48" creationId="{820DC0D9-22D7-4C03-AD6A-9EDB3F0F7ECF}"/>
          </ac:grpSpMkLst>
        </pc:grpChg>
        <pc:grpChg chg="mod topLvl">
          <ac:chgData name="Julius von Dryander" userId="f300f5c52e32c87c" providerId="LiveId" clId="{C79B15EC-F659-4664-80C3-541780282E28}" dt="2021-12-12T19:12:19.911" v="5365" actId="14100"/>
          <ac:grpSpMkLst>
            <pc:docMk/>
            <pc:sldMk cId="3362921512" sldId="296"/>
            <ac:grpSpMk id="49" creationId="{3C1D7D97-912A-4530-B667-7F0ACDB7E9D8}"/>
          </ac:grpSpMkLst>
        </pc:grpChg>
        <pc:grpChg chg="add mod topLvl">
          <ac:chgData name="Julius von Dryander" userId="f300f5c52e32c87c" providerId="LiveId" clId="{C79B15EC-F659-4664-80C3-541780282E28}" dt="2021-12-12T19:12:19.911" v="5365" actId="14100"/>
          <ac:grpSpMkLst>
            <pc:docMk/>
            <pc:sldMk cId="3362921512" sldId="296"/>
            <ac:grpSpMk id="57" creationId="{EC1B7E59-CBE8-4B4F-9EAD-01D5CA4800E8}"/>
          </ac:grpSpMkLst>
        </pc:grpChg>
        <pc:grpChg chg="mod">
          <ac:chgData name="Julius von Dryander" userId="f300f5c52e32c87c" providerId="LiveId" clId="{C79B15EC-F659-4664-80C3-541780282E28}" dt="2021-12-12T19:12:14.357" v="5337" actId="165"/>
          <ac:grpSpMkLst>
            <pc:docMk/>
            <pc:sldMk cId="3362921512" sldId="296"/>
            <ac:grpSpMk id="58" creationId="{06642750-FCB0-4204-8587-DE4E7F7F35F6}"/>
          </ac:grpSpMkLst>
        </pc:grpChg>
        <pc:graphicFrameChg chg="mod">
          <ac:chgData name="Julius von Dryander" userId="f300f5c52e32c87c" providerId="LiveId" clId="{C79B15EC-F659-4664-80C3-541780282E28}" dt="2021-12-12T19:05:08.564" v="4667"/>
          <ac:graphicFrameMkLst>
            <pc:docMk/>
            <pc:sldMk cId="3362921512" sldId="296"/>
            <ac:graphicFrameMk id="4" creationId="{9D6F3C97-57CA-45C5-9CA9-041D656405E9}"/>
          </ac:graphicFrameMkLst>
        </pc:graphicFrameChg>
        <pc:picChg chg="mod">
          <ac:chgData name="Julius von Dryander" userId="f300f5c52e32c87c" providerId="LiveId" clId="{C79B15EC-F659-4664-80C3-541780282E28}" dt="2021-12-13T10:02:33.589" v="6382"/>
          <ac:picMkLst>
            <pc:docMk/>
            <pc:sldMk cId="3362921512" sldId="296"/>
            <ac:picMk id="7" creationId="{9EDBAC92-6F61-4F50-A9EF-EAB44AF144FC}"/>
          </ac:picMkLst>
        </pc:picChg>
        <pc:picChg chg="mod">
          <ac:chgData name="Julius von Dryander" userId="f300f5c52e32c87c" providerId="LiveId" clId="{C79B15EC-F659-4664-80C3-541780282E28}" dt="2021-12-12T19:05:08.564" v="4667"/>
          <ac:picMkLst>
            <pc:docMk/>
            <pc:sldMk cId="3362921512" sldId="296"/>
            <ac:picMk id="18" creationId="{0A2B12FB-A35A-4BEC-96C6-FD0A61AD125F}"/>
          </ac:picMkLst>
        </pc:picChg>
        <pc:picChg chg="mod modCrop">
          <ac:chgData name="Julius von Dryander" userId="f300f5c52e32c87c" providerId="LiveId" clId="{C79B15EC-F659-4664-80C3-541780282E28}" dt="2021-12-12T19:20:25.595" v="5797" actId="1037"/>
          <ac:picMkLst>
            <pc:docMk/>
            <pc:sldMk cId="3362921512" sldId="296"/>
            <ac:picMk id="29" creationId="{644E710B-5FA3-48A6-B406-8ADFDFED593D}"/>
          </ac:picMkLst>
        </pc:picChg>
        <pc:picChg chg="del mod">
          <ac:chgData name="Julius von Dryander" userId="f300f5c52e32c87c" providerId="LiveId" clId="{C79B15EC-F659-4664-80C3-541780282E28}" dt="2021-12-12T19:05:20.695" v="4668" actId="478"/>
          <ac:picMkLst>
            <pc:docMk/>
            <pc:sldMk cId="3362921512" sldId="296"/>
            <ac:picMk id="37" creationId="{42D6F8C2-5A99-4900-93D8-8B4FD19DDBE9}"/>
          </ac:picMkLst>
        </pc:picChg>
        <pc:picChg chg="del mod">
          <ac:chgData name="Julius von Dryander" userId="f300f5c52e32c87c" providerId="LiveId" clId="{C79B15EC-F659-4664-80C3-541780282E28}" dt="2021-12-12T19:05:20.695" v="4668" actId="478"/>
          <ac:picMkLst>
            <pc:docMk/>
            <pc:sldMk cId="3362921512" sldId="296"/>
            <ac:picMk id="38" creationId="{E5F3E53D-B1AF-44F8-A7E9-7334FA4F2878}"/>
          </ac:picMkLst>
        </pc:picChg>
        <pc:picChg chg="add mod">
          <ac:chgData name="Julius von Dryander" userId="f300f5c52e32c87c" providerId="LiveId" clId="{C79B15EC-F659-4664-80C3-541780282E28}" dt="2021-12-12T19:10:50.341" v="5236" actId="1035"/>
          <ac:picMkLst>
            <pc:docMk/>
            <pc:sldMk cId="3362921512" sldId="296"/>
            <ac:picMk id="63" creationId="{6ED008D4-5B3C-4F5C-B635-E67E48527E87}"/>
          </ac:picMkLst>
        </pc:picChg>
        <pc:picChg chg="add mod">
          <ac:chgData name="Julius von Dryander" userId="f300f5c52e32c87c" providerId="LiveId" clId="{C79B15EC-F659-4664-80C3-541780282E28}" dt="2021-12-12T19:10:50.341" v="5236" actId="1035"/>
          <ac:picMkLst>
            <pc:docMk/>
            <pc:sldMk cId="3362921512" sldId="296"/>
            <ac:picMk id="64" creationId="{32EF7E69-04D9-4937-A16F-624DB9139D11}"/>
          </ac:picMkLst>
        </pc:picChg>
        <pc:picChg chg="add mod">
          <ac:chgData name="Julius von Dryander" userId="f300f5c52e32c87c" providerId="LiveId" clId="{C79B15EC-F659-4664-80C3-541780282E28}" dt="2021-12-12T19:10:50.341" v="5236" actId="1035"/>
          <ac:picMkLst>
            <pc:docMk/>
            <pc:sldMk cId="3362921512" sldId="296"/>
            <ac:picMk id="65" creationId="{97D78998-00A8-4FF9-9269-6BF2538DC479}"/>
          </ac:picMkLst>
        </pc:picChg>
        <pc:picChg chg="del mod">
          <ac:chgData name="Julius von Dryander" userId="f300f5c52e32c87c" providerId="LiveId" clId="{C79B15EC-F659-4664-80C3-541780282E28}" dt="2021-12-12T19:05:20.695" v="4668" actId="478"/>
          <ac:picMkLst>
            <pc:docMk/>
            <pc:sldMk cId="3362921512" sldId="296"/>
            <ac:picMk id="3076" creationId="{D349883A-49A9-4C19-9D98-CFA22614C19E}"/>
          </ac:picMkLst>
        </pc:picChg>
      </pc:sldChg>
      <pc:sldMasterChg chg="addSp modSp mod">
        <pc:chgData name="Julius von Dryander" userId="f300f5c52e32c87c" providerId="LiveId" clId="{C79B15EC-F659-4664-80C3-541780282E28}" dt="2021-12-11T12:14:25.441" v="200"/>
        <pc:sldMasterMkLst>
          <pc:docMk/>
          <pc:sldMasterMk cId="0" sldId="2147483648"/>
        </pc:sldMasterMkLst>
        <pc:graphicFrameChg chg="add mod ord modVis replST">
          <ac:chgData name="Julius von Dryander" userId="f300f5c52e32c87c" providerId="LiveId" clId="{C79B15EC-F659-4664-80C3-541780282E28}" dt="2021-12-11T12:14:25.441" v="200"/>
          <ac:graphicFrameMkLst>
            <pc:docMk/>
            <pc:sldMasterMk cId="0" sldId="2147483648"/>
            <ac:graphicFrameMk id="7" creationId="{1D9DDE91-C3F9-4D62-934B-08938B02B865}"/>
          </ac:graphicFrameMkLst>
        </pc:graphicFrameChg>
      </pc:sldMasterChg>
    </pc:docChg>
  </pc:docChgLst>
  <pc:docChgLst>
    <pc:chgData name="Guest User" providerId="Windows Live" clId="Web-{03F632F5-1135-43E0-B72F-5F412711652A}"/>
    <pc:docChg chg="modSld">
      <pc:chgData name="Guest User" userId="" providerId="Windows Live" clId="Web-{03F632F5-1135-43E0-B72F-5F412711652A}" dt="2021-12-11T19:19:30.184" v="77" actId="20577"/>
      <pc:docMkLst>
        <pc:docMk/>
      </pc:docMkLst>
      <pc:sldChg chg="modSp">
        <pc:chgData name="Guest User" userId="" providerId="Windows Live" clId="Web-{03F632F5-1135-43E0-B72F-5F412711652A}" dt="2021-12-11T19:19:30.184" v="77" actId="20577"/>
        <pc:sldMkLst>
          <pc:docMk/>
          <pc:sldMk cId="2033624841" sldId="294"/>
        </pc:sldMkLst>
        <pc:spChg chg="mod">
          <ac:chgData name="Guest User" userId="" providerId="Windows Live" clId="Web-{03F632F5-1135-43E0-B72F-5F412711652A}" dt="2021-12-11T19:19:30.184" v="77" actId="20577"/>
          <ac:spMkLst>
            <pc:docMk/>
            <pc:sldMk cId="2033624841" sldId="294"/>
            <ac:spMk id="41" creationId="{99CE9F68-7729-473B-BB10-099A39D6770A}"/>
          </ac:spMkLst>
        </pc:spChg>
        <pc:spChg chg="mod">
          <ac:chgData name="Guest User" userId="" providerId="Windows Live" clId="Web-{03F632F5-1135-43E0-B72F-5F412711652A}" dt="2021-12-11T19:18:20.292" v="71" actId="20577"/>
          <ac:spMkLst>
            <pc:docMk/>
            <pc:sldMk cId="2033624841" sldId="294"/>
            <ac:spMk id="42" creationId="{632B2822-7318-4362-8C13-B7F54D29702C}"/>
          </ac:spMkLst>
        </pc:spChg>
      </pc:sldChg>
    </pc:docChg>
  </pc:docChgLst>
  <pc:docChgLst>
    <pc:chgData name="Sebastian W." userId="803d880bd384fbed" providerId="LiveId" clId="{BB2C405F-3390-6D4C-B4AA-143DDEFB957A}"/>
    <pc:docChg chg="undo custSel modSld">
      <pc:chgData name="Sebastian W." userId="803d880bd384fbed" providerId="LiveId" clId="{BB2C405F-3390-6D4C-B4AA-143DDEFB957A}" dt="2021-12-13T12:48:06.708" v="1270" actId="20577"/>
      <pc:docMkLst>
        <pc:docMk/>
      </pc:docMkLst>
      <pc:sldChg chg="addSp modSp mod">
        <pc:chgData name="Sebastian W." userId="803d880bd384fbed" providerId="LiveId" clId="{BB2C405F-3390-6D4C-B4AA-143DDEFB957A}" dt="2021-12-13T12:47:54.825" v="1262" actId="20577"/>
        <pc:sldMkLst>
          <pc:docMk/>
          <pc:sldMk cId="801734895" sldId="273"/>
        </pc:sldMkLst>
        <pc:spChg chg="add mod">
          <ac:chgData name="Sebastian W." userId="803d880bd384fbed" providerId="LiveId" clId="{BB2C405F-3390-6D4C-B4AA-143DDEFB957A}" dt="2021-12-13T10:32:23.061" v="219" actId="20577"/>
          <ac:spMkLst>
            <pc:docMk/>
            <pc:sldMk cId="801734895" sldId="273"/>
            <ac:spMk id="2" creationId="{66F34B4B-0358-344F-8384-0C9E5FC62C05}"/>
          </ac:spMkLst>
        </pc:spChg>
        <pc:spChg chg="mod">
          <ac:chgData name="Sebastian W." userId="803d880bd384fbed" providerId="LiveId" clId="{BB2C405F-3390-6D4C-B4AA-143DDEFB957A}" dt="2021-12-13T12:39:49.886" v="1169" actId="20577"/>
          <ac:spMkLst>
            <pc:docMk/>
            <pc:sldMk cId="801734895" sldId="273"/>
            <ac:spMk id="30" creationId="{C082E54C-AC86-4ADD-B769-4C93FD0B71DD}"/>
          </ac:spMkLst>
        </pc:spChg>
        <pc:spChg chg="mod">
          <ac:chgData name="Sebastian W." userId="803d880bd384fbed" providerId="LiveId" clId="{BB2C405F-3390-6D4C-B4AA-143DDEFB957A}" dt="2021-12-13T12:47:54.825" v="1262" actId="20577"/>
          <ac:spMkLst>
            <pc:docMk/>
            <pc:sldMk cId="801734895" sldId="273"/>
            <ac:spMk id="31" creationId="{A466A1C1-91D2-4A97-9680-0017B452BB8D}"/>
          </ac:spMkLst>
        </pc:spChg>
        <pc:spChg chg="mod">
          <ac:chgData name="Sebastian W." userId="803d880bd384fbed" providerId="LiveId" clId="{BB2C405F-3390-6D4C-B4AA-143DDEFB957A}" dt="2021-12-13T12:40:42.176" v="1210" actId="20577"/>
          <ac:spMkLst>
            <pc:docMk/>
            <pc:sldMk cId="801734895" sldId="273"/>
            <ac:spMk id="32" creationId="{9F0C05AF-778D-4EB7-A500-32A28A5164C8}"/>
          </ac:spMkLst>
        </pc:spChg>
        <pc:spChg chg="add mod">
          <ac:chgData name="Sebastian W." userId="803d880bd384fbed" providerId="LiveId" clId="{BB2C405F-3390-6D4C-B4AA-143DDEFB957A}" dt="2021-12-13T10:26:46.656" v="75" actId="1076"/>
          <ac:spMkLst>
            <pc:docMk/>
            <pc:sldMk cId="801734895" sldId="273"/>
            <ac:spMk id="35" creationId="{7B9D7BED-96AF-B241-B02C-1D3BA8B41C4A}"/>
          </ac:spMkLst>
        </pc:spChg>
        <pc:spChg chg="mod">
          <ac:chgData name="Sebastian W." userId="803d880bd384fbed" providerId="LiveId" clId="{BB2C405F-3390-6D4C-B4AA-143DDEFB957A}" dt="2021-12-13T12:40:57.442" v="1214" actId="20577"/>
          <ac:spMkLst>
            <pc:docMk/>
            <pc:sldMk cId="801734895" sldId="273"/>
            <ac:spMk id="39" creationId="{26C371D9-488F-4E67-8AC5-2FD46622EE5E}"/>
          </ac:spMkLst>
        </pc:spChg>
        <pc:spChg chg="add mod">
          <ac:chgData name="Sebastian W." userId="803d880bd384fbed" providerId="LiveId" clId="{BB2C405F-3390-6D4C-B4AA-143DDEFB957A}" dt="2021-12-13T10:33:05.326" v="401" actId="20577"/>
          <ac:spMkLst>
            <pc:docMk/>
            <pc:sldMk cId="801734895" sldId="273"/>
            <ac:spMk id="42" creationId="{A0A9078E-771C-084D-8B72-8E13CA152AB8}"/>
          </ac:spMkLst>
        </pc:spChg>
        <pc:spChg chg="add mod">
          <ac:chgData name="Sebastian W." userId="803d880bd384fbed" providerId="LiveId" clId="{BB2C405F-3390-6D4C-B4AA-143DDEFB957A}" dt="2021-12-13T10:37:32.896" v="614" actId="14100"/>
          <ac:spMkLst>
            <pc:docMk/>
            <pc:sldMk cId="801734895" sldId="273"/>
            <ac:spMk id="47" creationId="{16E2BACC-3E25-714D-97FC-54BFC2542B92}"/>
          </ac:spMkLst>
        </pc:spChg>
        <pc:spChg chg="add mod">
          <ac:chgData name="Sebastian W." userId="803d880bd384fbed" providerId="LiveId" clId="{BB2C405F-3390-6D4C-B4AA-143DDEFB957A}" dt="2021-12-13T10:36:36.240" v="483" actId="20577"/>
          <ac:spMkLst>
            <pc:docMk/>
            <pc:sldMk cId="801734895" sldId="273"/>
            <ac:spMk id="52" creationId="{550BC7D9-EF5B-954C-877E-898C9BB1C48A}"/>
          </ac:spMkLst>
        </pc:spChg>
        <pc:spChg chg="add mod">
          <ac:chgData name="Sebastian W." userId="803d880bd384fbed" providerId="LiveId" clId="{BB2C405F-3390-6D4C-B4AA-143DDEFB957A}" dt="2021-12-13T10:37:02.002" v="557" actId="1076"/>
          <ac:spMkLst>
            <pc:docMk/>
            <pc:sldMk cId="801734895" sldId="273"/>
            <ac:spMk id="57" creationId="{DECB5B10-FB26-CB49-B095-BD897C9BBFDF}"/>
          </ac:spMkLst>
        </pc:spChg>
        <pc:spChg chg="add mod">
          <ac:chgData name="Sebastian W." userId="803d880bd384fbed" providerId="LiveId" clId="{BB2C405F-3390-6D4C-B4AA-143DDEFB957A}" dt="2021-12-13T10:37:24.053" v="613" actId="14100"/>
          <ac:spMkLst>
            <pc:docMk/>
            <pc:sldMk cId="801734895" sldId="273"/>
            <ac:spMk id="58" creationId="{C370E480-30F5-AB49-8DEF-0A6B07A04A39}"/>
          </ac:spMkLst>
        </pc:spChg>
        <pc:grpChg chg="mod">
          <ac:chgData name="Sebastian W." userId="803d880bd384fbed" providerId="LiveId" clId="{BB2C405F-3390-6D4C-B4AA-143DDEFB957A}" dt="2021-12-13T12:41:27.587" v="1215" actId="552"/>
          <ac:grpSpMkLst>
            <pc:docMk/>
            <pc:sldMk cId="801734895" sldId="273"/>
            <ac:grpSpMk id="3" creationId="{48D8D740-186F-40D8-BC99-8FC23600CF99}"/>
          </ac:grpSpMkLst>
        </pc:grpChg>
        <pc:grpChg chg="mod">
          <ac:chgData name="Sebastian W." userId="803d880bd384fbed" providerId="LiveId" clId="{BB2C405F-3390-6D4C-B4AA-143DDEFB957A}" dt="2021-12-13T12:41:27.587" v="1215" actId="552"/>
          <ac:grpSpMkLst>
            <pc:docMk/>
            <pc:sldMk cId="801734895" sldId="273"/>
            <ac:grpSpMk id="13" creationId="{6FC2100B-4036-4E0B-A487-EE7B65CFCB1C}"/>
          </ac:grpSpMkLst>
        </pc:grpChg>
      </pc:sldChg>
      <pc:sldChg chg="addSp modSp mod">
        <pc:chgData name="Sebastian W." userId="803d880bd384fbed" providerId="LiveId" clId="{BB2C405F-3390-6D4C-B4AA-143DDEFB957A}" dt="2021-12-13T12:41:50.882" v="1217" actId="20577"/>
        <pc:sldMkLst>
          <pc:docMk/>
          <pc:sldMk cId="2033624841" sldId="294"/>
        </pc:sldMkLst>
        <pc:spChg chg="add mod">
          <ac:chgData name="Sebastian W." userId="803d880bd384fbed" providerId="LiveId" clId="{BB2C405F-3390-6D4C-B4AA-143DDEFB957A}" dt="2021-12-13T10:38:32.983" v="682" actId="20577"/>
          <ac:spMkLst>
            <pc:docMk/>
            <pc:sldMk cId="2033624841" sldId="294"/>
            <ac:spMk id="25" creationId="{DC37510D-EDF5-754F-9B52-3499034AD813}"/>
          </ac:spMkLst>
        </pc:spChg>
        <pc:spChg chg="add mod">
          <ac:chgData name="Sebastian W." userId="803d880bd384fbed" providerId="LiveId" clId="{BB2C405F-3390-6D4C-B4AA-143DDEFB957A}" dt="2021-12-13T10:41:19.771" v="741" actId="1076"/>
          <ac:spMkLst>
            <pc:docMk/>
            <pc:sldMk cId="2033624841" sldId="294"/>
            <ac:spMk id="27" creationId="{E84F1D14-EC7E-1E4A-9752-E552D7B099F4}"/>
          </ac:spMkLst>
        </pc:spChg>
        <pc:spChg chg="add mod">
          <ac:chgData name="Sebastian W." userId="803d880bd384fbed" providerId="LiveId" clId="{BB2C405F-3390-6D4C-B4AA-143DDEFB957A}" dt="2021-12-13T10:42:00.748" v="779" actId="113"/>
          <ac:spMkLst>
            <pc:docMk/>
            <pc:sldMk cId="2033624841" sldId="294"/>
            <ac:spMk id="29" creationId="{A6BC9EDD-A5FF-DA46-8FC7-60A9CF332376}"/>
          </ac:spMkLst>
        </pc:spChg>
        <pc:spChg chg="add mod">
          <ac:chgData name="Sebastian W." userId="803d880bd384fbed" providerId="LiveId" clId="{BB2C405F-3390-6D4C-B4AA-143DDEFB957A}" dt="2021-12-13T10:43:58.891" v="953" actId="20577"/>
          <ac:spMkLst>
            <pc:docMk/>
            <pc:sldMk cId="2033624841" sldId="294"/>
            <ac:spMk id="31" creationId="{F1F3EF2F-1686-DC4E-A4C1-CC1E328C4851}"/>
          </ac:spMkLst>
        </pc:spChg>
        <pc:spChg chg="mod">
          <ac:chgData name="Sebastian W." userId="803d880bd384fbed" providerId="LiveId" clId="{BB2C405F-3390-6D4C-B4AA-143DDEFB957A}" dt="2021-12-13T12:41:50.882" v="1217" actId="20577"/>
          <ac:spMkLst>
            <pc:docMk/>
            <pc:sldMk cId="2033624841" sldId="294"/>
            <ac:spMk id="36" creationId="{8F2709EB-F20D-48D4-96DA-AC861F4F9AC6}"/>
          </ac:spMkLst>
        </pc:spChg>
      </pc:sldChg>
      <pc:sldChg chg="addSp modSp mod">
        <pc:chgData name="Sebastian W." userId="803d880bd384fbed" providerId="LiveId" clId="{BB2C405F-3390-6D4C-B4AA-143DDEFB957A}" dt="2021-12-13T12:48:06.708" v="1270" actId="20577"/>
        <pc:sldMkLst>
          <pc:docMk/>
          <pc:sldMk cId="3362921512" sldId="296"/>
        </pc:sldMkLst>
        <pc:spChg chg="mod">
          <ac:chgData name="Sebastian W." userId="803d880bd384fbed" providerId="LiveId" clId="{BB2C405F-3390-6D4C-B4AA-143DDEFB957A}" dt="2021-12-13T12:48:06.708" v="1270" actId="20577"/>
          <ac:spMkLst>
            <pc:docMk/>
            <pc:sldMk cId="3362921512" sldId="296"/>
            <ac:spMk id="25" creationId="{263BB1FE-D9D6-4746-BCBD-1B8B00593CAD}"/>
          </ac:spMkLst>
        </pc:spChg>
        <pc:spChg chg="add mod">
          <ac:chgData name="Sebastian W." userId="803d880bd384fbed" providerId="LiveId" clId="{BB2C405F-3390-6D4C-B4AA-143DDEFB957A}" dt="2021-12-13T10:28:45.183" v="131" actId="1076"/>
          <ac:spMkLst>
            <pc:docMk/>
            <pc:sldMk cId="3362921512" sldId="296"/>
            <ac:spMk id="42" creationId="{DD784115-A018-9C46-8DEA-4755544A3042}"/>
          </ac:spMkLst>
        </pc:spChg>
        <pc:spChg chg="add mod">
          <ac:chgData name="Sebastian W." userId="803d880bd384fbed" providerId="LiveId" clId="{BB2C405F-3390-6D4C-B4AA-143DDEFB957A}" dt="2021-12-13T10:47:21.247" v="974" actId="14100"/>
          <ac:spMkLst>
            <pc:docMk/>
            <pc:sldMk cId="3362921512" sldId="296"/>
            <ac:spMk id="55" creationId="{8354E5B1-E675-3144-A89E-65998EFF427B}"/>
          </ac:spMkLst>
        </pc:spChg>
        <pc:spChg chg="add mod">
          <ac:chgData name="Sebastian W." userId="803d880bd384fbed" providerId="LiveId" clId="{BB2C405F-3390-6D4C-B4AA-143DDEFB957A}" dt="2021-12-13T10:47:37.951" v="994" actId="1076"/>
          <ac:spMkLst>
            <pc:docMk/>
            <pc:sldMk cId="3362921512" sldId="296"/>
            <ac:spMk id="56" creationId="{DB5CDBD0-15F7-B341-8AE6-A862DEE57F0E}"/>
          </ac:spMkLst>
        </pc:spChg>
        <pc:spChg chg="add mod">
          <ac:chgData name="Sebastian W." userId="803d880bd384fbed" providerId="LiveId" clId="{BB2C405F-3390-6D4C-B4AA-143DDEFB957A}" dt="2021-12-13T10:49:56.540" v="1067" actId="1076"/>
          <ac:spMkLst>
            <pc:docMk/>
            <pc:sldMk cId="3362921512" sldId="296"/>
            <ac:spMk id="69" creationId="{CE95F6B3-EEFE-EC4B-9547-0676D5360974}"/>
          </ac:spMkLst>
        </pc:spChg>
        <pc:spChg chg="mod">
          <ac:chgData name="Sebastian W." userId="803d880bd384fbed" providerId="LiveId" clId="{BB2C405F-3390-6D4C-B4AA-143DDEFB957A}" dt="2021-12-13T12:43:30.659" v="1261" actId="20577"/>
          <ac:spMkLst>
            <pc:docMk/>
            <pc:sldMk cId="3362921512" sldId="296"/>
            <ac:spMk id="70" creationId="{FE30978E-7612-4A21-9E96-D6563F367FE7}"/>
          </ac:spMkLst>
        </pc:spChg>
        <pc:spChg chg="add mod">
          <ac:chgData name="Sebastian W." userId="803d880bd384fbed" providerId="LiveId" clId="{BB2C405F-3390-6D4C-B4AA-143DDEFB957A}" dt="2021-12-13T10:51:40.975" v="1152" actId="20577"/>
          <ac:spMkLst>
            <pc:docMk/>
            <pc:sldMk cId="3362921512" sldId="296"/>
            <ac:spMk id="73" creationId="{CF6E3C4C-9F64-1D4F-B261-1B29816237C5}"/>
          </ac:spMkLst>
        </pc:spChg>
      </pc:sldChg>
    </pc:docChg>
  </pc:docChgLst>
  <pc:docChgLst>
    <pc:chgData name="Magnus Lütt" userId="a5ce4c93dcdbffd9" providerId="LiveId" clId="{21810284-B447-443F-81E8-427B9BD3EB0E}"/>
    <pc:docChg chg="undo custSel addSld modSld">
      <pc:chgData name="Magnus Lütt" userId="a5ce4c93dcdbffd9" providerId="LiveId" clId="{21810284-B447-443F-81E8-427B9BD3EB0E}" dt="2021-12-13T12:32:32.206" v="3567" actId="14100"/>
      <pc:docMkLst>
        <pc:docMk/>
      </pc:docMkLst>
      <pc:sldChg chg="modSp mod">
        <pc:chgData name="Magnus Lütt" userId="a5ce4c93dcdbffd9" providerId="LiveId" clId="{21810284-B447-443F-81E8-427B9BD3EB0E}" dt="2021-12-13T12:13:07.321" v="3257" actId="1076"/>
        <pc:sldMkLst>
          <pc:docMk/>
          <pc:sldMk cId="0" sldId="256"/>
        </pc:sldMkLst>
        <pc:spChg chg="mod">
          <ac:chgData name="Magnus Lütt" userId="a5ce4c93dcdbffd9" providerId="LiveId" clId="{21810284-B447-443F-81E8-427B9BD3EB0E}" dt="2021-12-13T12:13:07.321" v="3257" actId="1076"/>
          <ac:spMkLst>
            <pc:docMk/>
            <pc:sldMk cId="0" sldId="256"/>
            <ac:spMk id="5" creationId="{00000000-0000-0000-0000-000000000000}"/>
          </ac:spMkLst>
        </pc:spChg>
        <pc:spChg chg="mod">
          <ac:chgData name="Magnus Lütt" userId="a5ce4c93dcdbffd9" providerId="LiveId" clId="{21810284-B447-443F-81E8-427B9BD3EB0E}" dt="2021-12-11T12:16:02.369" v="67" actId="20577"/>
          <ac:spMkLst>
            <pc:docMk/>
            <pc:sldMk cId="0" sldId="256"/>
            <ac:spMk id="18" creationId="{00000000-0000-0000-0000-000000000000}"/>
          </ac:spMkLst>
        </pc:spChg>
        <pc:spChg chg="mod">
          <ac:chgData name="Magnus Lütt" userId="a5ce4c93dcdbffd9" providerId="LiveId" clId="{21810284-B447-443F-81E8-427B9BD3EB0E}" dt="2021-12-11T12:15:06.371" v="58" actId="14100"/>
          <ac:spMkLst>
            <pc:docMk/>
            <pc:sldMk cId="0" sldId="256"/>
            <ac:spMk id="20" creationId="{00000000-0000-0000-0000-000000000000}"/>
          </ac:spMkLst>
        </pc:spChg>
      </pc:sldChg>
      <pc:sldChg chg="addSp delSp modSp mod">
        <pc:chgData name="Magnus Lütt" userId="a5ce4c93dcdbffd9" providerId="LiveId" clId="{21810284-B447-443F-81E8-427B9BD3EB0E}" dt="2021-12-13T09:21:06.082" v="2976" actId="20577"/>
        <pc:sldMkLst>
          <pc:docMk/>
          <pc:sldMk cId="801734895" sldId="273"/>
        </pc:sldMkLst>
        <pc:spChg chg="mod">
          <ac:chgData name="Magnus Lütt" userId="a5ce4c93dcdbffd9" providerId="LiveId" clId="{21810284-B447-443F-81E8-427B9BD3EB0E}" dt="2021-12-12T22:56:38.983" v="2668" actId="164"/>
          <ac:spMkLst>
            <pc:docMk/>
            <pc:sldMk cId="801734895" sldId="273"/>
            <ac:spMk id="6" creationId="{9F2BE503-AFC6-474C-82EF-CD164C505DFA}"/>
          </ac:spMkLst>
        </pc:spChg>
        <pc:spChg chg="mod">
          <ac:chgData name="Magnus Lütt" userId="a5ce4c93dcdbffd9" providerId="LiveId" clId="{21810284-B447-443F-81E8-427B9BD3EB0E}" dt="2021-12-12T22:56:38.983" v="2668" actId="164"/>
          <ac:spMkLst>
            <pc:docMk/>
            <pc:sldMk cId="801734895" sldId="273"/>
            <ac:spMk id="9" creationId="{919F44C3-6255-4ACB-B859-88CF660F72BC}"/>
          </ac:spMkLst>
        </pc:spChg>
        <pc:spChg chg="mod">
          <ac:chgData name="Magnus Lütt" userId="a5ce4c93dcdbffd9" providerId="LiveId" clId="{21810284-B447-443F-81E8-427B9BD3EB0E}" dt="2021-12-12T10:59:48.044" v="1570"/>
          <ac:spMkLst>
            <pc:docMk/>
            <pc:sldMk cId="801734895" sldId="273"/>
            <ac:spMk id="14" creationId="{CA1E088E-1F52-4BB3-B303-F2A8263FAFFF}"/>
          </ac:spMkLst>
        </pc:spChg>
        <pc:spChg chg="mod">
          <ac:chgData name="Magnus Lütt" userId="a5ce4c93dcdbffd9" providerId="LiveId" clId="{21810284-B447-443F-81E8-427B9BD3EB0E}" dt="2021-12-12T22:56:38.983" v="2668" actId="164"/>
          <ac:spMkLst>
            <pc:docMk/>
            <pc:sldMk cId="801734895" sldId="273"/>
            <ac:spMk id="20" creationId="{914A22B2-49AF-48AE-A767-9D75030DD0A8}"/>
          </ac:spMkLst>
        </pc:spChg>
        <pc:spChg chg="mod">
          <ac:chgData name="Magnus Lütt" userId="a5ce4c93dcdbffd9" providerId="LiveId" clId="{21810284-B447-443F-81E8-427B9BD3EB0E}" dt="2021-12-12T11:11:13.814" v="1598" actId="1076"/>
          <ac:spMkLst>
            <pc:docMk/>
            <pc:sldMk cId="801734895" sldId="273"/>
            <ac:spMk id="21" creationId="{B7A9A7CE-08C8-418C-902F-759BEC54A779}"/>
          </ac:spMkLst>
        </pc:spChg>
        <pc:spChg chg="mod">
          <ac:chgData name="Magnus Lütt" userId="a5ce4c93dcdbffd9" providerId="LiveId" clId="{21810284-B447-443F-81E8-427B9BD3EB0E}" dt="2021-12-12T22:56:38.983" v="2668" actId="164"/>
          <ac:spMkLst>
            <pc:docMk/>
            <pc:sldMk cId="801734895" sldId="273"/>
            <ac:spMk id="24" creationId="{21A0CF55-160E-40B1-A846-EEFB92BD16C7}"/>
          </ac:spMkLst>
        </pc:spChg>
        <pc:spChg chg="mod">
          <ac:chgData name="Magnus Lütt" userId="a5ce4c93dcdbffd9" providerId="LiveId" clId="{21810284-B447-443F-81E8-427B9BD3EB0E}" dt="2021-12-12T22:56:38.983" v="2668" actId="164"/>
          <ac:spMkLst>
            <pc:docMk/>
            <pc:sldMk cId="801734895" sldId="273"/>
            <ac:spMk id="28" creationId="{08CE3B82-318B-4C81-8612-29252E6D91EC}"/>
          </ac:spMkLst>
        </pc:spChg>
        <pc:spChg chg="mod">
          <ac:chgData name="Magnus Lütt" userId="a5ce4c93dcdbffd9" providerId="LiveId" clId="{21810284-B447-443F-81E8-427B9BD3EB0E}" dt="2021-12-12T22:56:38.983" v="2668" actId="164"/>
          <ac:spMkLst>
            <pc:docMk/>
            <pc:sldMk cId="801734895" sldId="273"/>
            <ac:spMk id="30" creationId="{C082E54C-AC86-4ADD-B769-4C93FD0B71DD}"/>
          </ac:spMkLst>
        </pc:spChg>
        <pc:spChg chg="mod">
          <ac:chgData name="Magnus Lütt" userId="a5ce4c93dcdbffd9" providerId="LiveId" clId="{21810284-B447-443F-81E8-427B9BD3EB0E}" dt="2021-12-11T13:46:18.188" v="902" actId="404"/>
          <ac:spMkLst>
            <pc:docMk/>
            <pc:sldMk cId="801734895" sldId="273"/>
            <ac:spMk id="31" creationId="{A466A1C1-91D2-4A97-9680-0017B452BB8D}"/>
          </ac:spMkLst>
        </pc:spChg>
        <pc:spChg chg="mod">
          <ac:chgData name="Magnus Lütt" userId="a5ce4c93dcdbffd9" providerId="LiveId" clId="{21810284-B447-443F-81E8-427B9BD3EB0E}" dt="2021-12-12T23:09:30.597" v="2904" actId="20577"/>
          <ac:spMkLst>
            <pc:docMk/>
            <pc:sldMk cId="801734895" sldId="273"/>
            <ac:spMk id="32" creationId="{9F0C05AF-778D-4EB7-A500-32A28A5164C8}"/>
          </ac:spMkLst>
        </pc:spChg>
        <pc:spChg chg="mod">
          <ac:chgData name="Magnus Lütt" userId="a5ce4c93dcdbffd9" providerId="LiveId" clId="{21810284-B447-443F-81E8-427B9BD3EB0E}" dt="2021-12-12T22:57:07.729" v="2673" actId="1076"/>
          <ac:spMkLst>
            <pc:docMk/>
            <pc:sldMk cId="801734895" sldId="273"/>
            <ac:spMk id="36" creationId="{8B8C26E9-AC8A-4977-BA33-9CE409592DC1}"/>
          </ac:spMkLst>
        </pc:spChg>
        <pc:spChg chg="add">
          <ac:chgData name="Magnus Lütt" userId="a5ce4c93dcdbffd9" providerId="LiveId" clId="{21810284-B447-443F-81E8-427B9BD3EB0E}" dt="2021-12-12T10:59:36.853" v="1568"/>
          <ac:spMkLst>
            <pc:docMk/>
            <pc:sldMk cId="801734895" sldId="273"/>
            <ac:spMk id="37" creationId="{DE5DFC85-9952-4D88-A075-F7B3C593C8E9}"/>
          </ac:spMkLst>
        </pc:spChg>
        <pc:spChg chg="mod">
          <ac:chgData name="Magnus Lütt" userId="a5ce4c93dcdbffd9" providerId="LiveId" clId="{21810284-B447-443F-81E8-427B9BD3EB0E}" dt="2021-12-13T09:21:06.082" v="2976" actId="20577"/>
          <ac:spMkLst>
            <pc:docMk/>
            <pc:sldMk cId="801734895" sldId="273"/>
            <ac:spMk id="39" creationId="{26C371D9-488F-4E67-8AC5-2FD46622EE5E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40" creationId="{F20A0F92-BCF8-4F3F-B817-EE6B3C7BCFED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41" creationId="{CD0EEEC7-2031-4242-9304-69E0BC497A3A}"/>
          </ac:spMkLst>
        </pc:spChg>
        <pc:spChg chg="mod">
          <ac:chgData name="Magnus Lütt" userId="a5ce4c93dcdbffd9" providerId="LiveId" clId="{21810284-B447-443F-81E8-427B9BD3EB0E}" dt="2021-12-12T11:11:19.270" v="1599" actId="1076"/>
          <ac:spMkLst>
            <pc:docMk/>
            <pc:sldMk cId="801734895" sldId="273"/>
            <ac:spMk id="44" creationId="{27C4549F-3F08-419E-B1F0-43DF14D15510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45" creationId="{71CBA680-00AD-488E-8058-9BFC44B1C220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46" creationId="{5A8EE6F7-D355-4213-9164-2790F89754E5}"/>
          </ac:spMkLst>
        </pc:spChg>
        <pc:spChg chg="mod">
          <ac:chgData name="Magnus Lütt" userId="a5ce4c93dcdbffd9" providerId="LiveId" clId="{21810284-B447-443F-81E8-427B9BD3EB0E}" dt="2021-12-12T11:11:25.285" v="1601" actId="1076"/>
          <ac:spMkLst>
            <pc:docMk/>
            <pc:sldMk cId="801734895" sldId="273"/>
            <ac:spMk id="49" creationId="{28D6840A-4701-4646-827B-A3E49198C1AC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50" creationId="{6A52B532-C8D4-4182-83FC-42995926D223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51" creationId="{6706BFC5-F464-40A3-8B8C-FA2642BCE75F}"/>
          </ac:spMkLst>
        </pc:spChg>
        <pc:spChg chg="mod">
          <ac:chgData name="Magnus Lütt" userId="a5ce4c93dcdbffd9" providerId="LiveId" clId="{21810284-B447-443F-81E8-427B9BD3EB0E}" dt="2021-12-12T11:11:27.964" v="1602" actId="1076"/>
          <ac:spMkLst>
            <pc:docMk/>
            <pc:sldMk cId="801734895" sldId="273"/>
            <ac:spMk id="54" creationId="{71BC5921-264C-4D66-AFBE-8F1DE8679DB7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55" creationId="{1AB368D6-02D9-46A5-B254-EAE62C21D7CA}"/>
          </ac:spMkLst>
        </pc:spChg>
        <pc:spChg chg="mod">
          <ac:chgData name="Magnus Lütt" userId="a5ce4c93dcdbffd9" providerId="LiveId" clId="{21810284-B447-443F-81E8-427B9BD3EB0E}" dt="2021-12-12T10:23:14.525" v="1378" actId="404"/>
          <ac:spMkLst>
            <pc:docMk/>
            <pc:sldMk cId="801734895" sldId="273"/>
            <ac:spMk id="56" creationId="{9E1E5CEF-652A-4BD6-AA6D-BB7BCE9E0F07}"/>
          </ac:spMkLst>
        </pc:spChg>
        <pc:spChg chg="add del mod">
          <ac:chgData name="Magnus Lütt" userId="a5ce4c93dcdbffd9" providerId="LiveId" clId="{21810284-B447-443F-81E8-427B9BD3EB0E}" dt="2021-12-11T12:46:47.217" v="441" actId="478"/>
          <ac:spMkLst>
            <pc:docMk/>
            <pc:sldMk cId="801734895" sldId="273"/>
            <ac:spMk id="57" creationId="{5D11FA26-C212-497B-A514-231512687883}"/>
          </ac:spMkLst>
        </pc:spChg>
        <pc:grpChg chg="add mod">
          <ac:chgData name="Magnus Lütt" userId="a5ce4c93dcdbffd9" providerId="LiveId" clId="{21810284-B447-443F-81E8-427B9BD3EB0E}" dt="2021-12-12T22:58:08.349" v="2681" actId="14100"/>
          <ac:grpSpMkLst>
            <pc:docMk/>
            <pc:sldMk cId="801734895" sldId="273"/>
            <ac:grpSpMk id="2" creationId="{7CE54D52-5EA6-4A66-A1B3-AD2A61ABDFDB}"/>
          </ac:grpSpMkLst>
        </pc:grpChg>
        <pc:grpChg chg="mod">
          <ac:chgData name="Magnus Lütt" userId="a5ce4c93dcdbffd9" providerId="LiveId" clId="{21810284-B447-443F-81E8-427B9BD3EB0E}" dt="2021-12-12T22:56:38.983" v="2668" actId="164"/>
          <ac:grpSpMkLst>
            <pc:docMk/>
            <pc:sldMk cId="801734895" sldId="273"/>
            <ac:grpSpMk id="22" creationId="{EF143190-D37D-49EA-8FFD-3E7627BF6A91}"/>
          </ac:grpSpMkLst>
        </pc:grpChg>
        <pc:grpChg chg="mod">
          <ac:chgData name="Magnus Lütt" userId="a5ce4c93dcdbffd9" providerId="LiveId" clId="{21810284-B447-443F-81E8-427B9BD3EB0E}" dt="2021-12-12T22:56:38.983" v="2668" actId="164"/>
          <ac:grpSpMkLst>
            <pc:docMk/>
            <pc:sldMk cId="801734895" sldId="273"/>
            <ac:grpSpMk id="42" creationId="{94141F77-7703-4020-86B4-FA23581BB958}"/>
          </ac:grpSpMkLst>
        </pc:grpChg>
        <pc:grpChg chg="mod">
          <ac:chgData name="Magnus Lütt" userId="a5ce4c93dcdbffd9" providerId="LiveId" clId="{21810284-B447-443F-81E8-427B9BD3EB0E}" dt="2021-12-12T22:56:38.983" v="2668" actId="164"/>
          <ac:grpSpMkLst>
            <pc:docMk/>
            <pc:sldMk cId="801734895" sldId="273"/>
            <ac:grpSpMk id="47" creationId="{853F4E3A-638D-47AC-B874-A7C291032DB7}"/>
          </ac:grpSpMkLst>
        </pc:grpChg>
        <pc:grpChg chg="mod">
          <ac:chgData name="Magnus Lütt" userId="a5ce4c93dcdbffd9" providerId="LiveId" clId="{21810284-B447-443F-81E8-427B9BD3EB0E}" dt="2021-12-12T22:57:07.729" v="2673" actId="1076"/>
          <ac:grpSpMkLst>
            <pc:docMk/>
            <pc:sldMk cId="801734895" sldId="273"/>
            <ac:grpSpMk id="52" creationId="{035C2719-CCA2-4ABB-93EA-8F8E68A856D3}"/>
          </ac:grpSpMkLst>
        </pc:grpChg>
      </pc:sldChg>
      <pc:sldChg chg="addSp delSp modSp mod">
        <pc:chgData name="Magnus Lütt" userId="a5ce4c93dcdbffd9" providerId="LiveId" clId="{21810284-B447-443F-81E8-427B9BD3EB0E}" dt="2021-12-12T10:59:36.853" v="1568"/>
        <pc:sldMkLst>
          <pc:docMk/>
          <pc:sldMk cId="1203932121" sldId="293"/>
        </pc:sldMkLst>
        <pc:spChg chg="mod">
          <ac:chgData name="Magnus Lütt" userId="a5ce4c93dcdbffd9" providerId="LiveId" clId="{21810284-B447-443F-81E8-427B9BD3EB0E}" dt="2021-12-11T12:25:29.540" v="134" actId="207"/>
          <ac:spMkLst>
            <pc:docMk/>
            <pc:sldMk cId="1203932121" sldId="293"/>
            <ac:spMk id="12" creationId="{B09C5443-B13E-4131-A577-37C19D84313A}"/>
          </ac:spMkLst>
        </pc:spChg>
        <pc:spChg chg="add mod">
          <ac:chgData name="Magnus Lütt" userId="a5ce4c93dcdbffd9" providerId="LiveId" clId="{21810284-B447-443F-81E8-427B9BD3EB0E}" dt="2021-12-11T12:39:08.142" v="262" actId="1076"/>
          <ac:spMkLst>
            <pc:docMk/>
            <pc:sldMk cId="1203932121" sldId="293"/>
            <ac:spMk id="14" creationId="{542C5216-62E2-4611-92C9-BA7326CC1DC7}"/>
          </ac:spMkLst>
        </pc:spChg>
        <pc:spChg chg="mod">
          <ac:chgData name="Magnus Lütt" userId="a5ce4c93dcdbffd9" providerId="LiveId" clId="{21810284-B447-443F-81E8-427B9BD3EB0E}" dt="2021-12-11T12:23:58.201" v="123" actId="20577"/>
          <ac:spMkLst>
            <pc:docMk/>
            <pc:sldMk cId="1203932121" sldId="293"/>
            <ac:spMk id="15" creationId="{662B9F7B-AF65-4725-85AC-9ED030A6D13A}"/>
          </ac:spMkLst>
        </pc:spChg>
        <pc:spChg chg="add">
          <ac:chgData name="Magnus Lütt" userId="a5ce4c93dcdbffd9" providerId="LiveId" clId="{21810284-B447-443F-81E8-427B9BD3EB0E}" dt="2021-12-12T10:59:36.853" v="1568"/>
          <ac:spMkLst>
            <pc:docMk/>
            <pc:sldMk cId="1203932121" sldId="293"/>
            <ac:spMk id="20" creationId="{F4C7040B-1F71-4A80-A149-3A194D521A5D}"/>
          </ac:spMkLst>
        </pc:spChg>
        <pc:picChg chg="add del mod">
          <ac:chgData name="Magnus Lütt" userId="a5ce4c93dcdbffd9" providerId="LiveId" clId="{21810284-B447-443F-81E8-427B9BD3EB0E}" dt="2021-12-11T12:33:30.497" v="213" actId="478"/>
          <ac:picMkLst>
            <pc:docMk/>
            <pc:sldMk cId="1203932121" sldId="293"/>
            <ac:picMk id="10" creationId="{E9F422B4-A1C3-4313-9B30-6F4732720DD2}"/>
          </ac:picMkLst>
        </pc:picChg>
        <pc:picChg chg="add mod modCrop">
          <ac:chgData name="Magnus Lütt" userId="a5ce4c93dcdbffd9" providerId="LiveId" clId="{21810284-B447-443F-81E8-427B9BD3EB0E}" dt="2021-12-11T12:39:08.142" v="262" actId="1076"/>
          <ac:picMkLst>
            <pc:docMk/>
            <pc:sldMk cId="1203932121" sldId="293"/>
            <ac:picMk id="11" creationId="{7D661ABF-0849-45DA-9795-42CA7AB20669}"/>
          </ac:picMkLst>
        </pc:picChg>
        <pc:picChg chg="add del">
          <ac:chgData name="Magnus Lütt" userId="a5ce4c93dcdbffd9" providerId="LiveId" clId="{21810284-B447-443F-81E8-427B9BD3EB0E}" dt="2021-12-11T12:24:23.600" v="125" actId="478"/>
          <ac:picMkLst>
            <pc:docMk/>
            <pc:sldMk cId="1203932121" sldId="293"/>
            <ac:picMk id="3074" creationId="{1CB72F8C-DC01-4985-8EAD-B67488F697C6}"/>
          </ac:picMkLst>
        </pc:picChg>
        <pc:picChg chg="add mod">
          <ac:chgData name="Magnus Lütt" userId="a5ce4c93dcdbffd9" providerId="LiveId" clId="{21810284-B447-443F-81E8-427B9BD3EB0E}" dt="2021-12-11T12:24:56.433" v="131" actId="1076"/>
          <ac:picMkLst>
            <pc:docMk/>
            <pc:sldMk cId="1203932121" sldId="293"/>
            <ac:picMk id="3076" creationId="{D349883A-49A9-4C19-9D98-CFA22614C19E}"/>
          </ac:picMkLst>
        </pc:picChg>
      </pc:sldChg>
      <pc:sldChg chg="addSp delSp modSp add mod">
        <pc:chgData name="Magnus Lütt" userId="a5ce4c93dcdbffd9" providerId="LiveId" clId="{21810284-B447-443F-81E8-427B9BD3EB0E}" dt="2021-12-13T12:32:32.206" v="3567" actId="14100"/>
        <pc:sldMkLst>
          <pc:docMk/>
          <pc:sldMk cId="2033624841" sldId="294"/>
        </pc:sldMkLst>
        <pc:spChg chg="add del">
          <ac:chgData name="Magnus Lütt" userId="a5ce4c93dcdbffd9" providerId="LiveId" clId="{21810284-B447-443F-81E8-427B9BD3EB0E}" dt="2021-12-12T10:25:59.310" v="1400"/>
          <ac:spMkLst>
            <pc:docMk/>
            <pc:sldMk cId="2033624841" sldId="294"/>
            <ac:spMk id="2" creationId="{275CEB94-3BA9-4007-8CAE-977950BE7C3B}"/>
          </ac:spMkLst>
        </pc:spChg>
        <pc:spChg chg="add del mod">
          <ac:chgData name="Magnus Lütt" userId="a5ce4c93dcdbffd9" providerId="LiveId" clId="{21810284-B447-443F-81E8-427B9BD3EB0E}" dt="2021-12-11T13:23:03.334" v="686" actId="478"/>
          <ac:spMkLst>
            <pc:docMk/>
            <pc:sldMk cId="2033624841" sldId="294"/>
            <ac:spMk id="2" creationId="{2C051833-0FBA-4E66-B421-13B35C901069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3" creationId="{667083B1-F352-4ABF-9E30-5E6928F3CA82}"/>
          </ac:spMkLst>
        </pc:spChg>
        <pc:spChg chg="del mod">
          <ac:chgData name="Magnus Lütt" userId="a5ce4c93dcdbffd9" providerId="LiveId" clId="{21810284-B447-443F-81E8-427B9BD3EB0E}" dt="2021-12-12T10:22:55.258" v="1371" actId="478"/>
          <ac:spMkLst>
            <pc:docMk/>
            <pc:sldMk cId="2033624841" sldId="294"/>
            <ac:spMk id="4" creationId="{00000000-0000-0000-0000-000000000000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6" creationId="{9F2BE503-AFC6-474C-82EF-CD164C505DFA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9" creationId="{919F44C3-6255-4ACB-B859-88CF660F72BC}"/>
          </ac:spMkLst>
        </pc:spChg>
        <pc:spChg chg="mod">
          <ac:chgData name="Magnus Lütt" userId="a5ce4c93dcdbffd9" providerId="LiveId" clId="{21810284-B447-443F-81E8-427B9BD3EB0E}" dt="2021-12-12T19:00:16.072" v="2601" actId="1076"/>
          <ac:spMkLst>
            <pc:docMk/>
            <pc:sldMk cId="2033624841" sldId="294"/>
            <ac:spMk id="10" creationId="{728018FB-01FA-4199-8841-D4D551DEB721}"/>
          </ac:spMkLst>
        </pc:spChg>
        <pc:spChg chg="add del mod">
          <ac:chgData name="Magnus Lütt" userId="a5ce4c93dcdbffd9" providerId="LiveId" clId="{21810284-B447-443F-81E8-427B9BD3EB0E}" dt="2021-12-11T13:33:00.635" v="737" actId="478"/>
          <ac:spMkLst>
            <pc:docMk/>
            <pc:sldMk cId="2033624841" sldId="294"/>
            <ac:spMk id="10" creationId="{E7616992-DE59-4814-9154-BE8842AA20B9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12" creationId="{A88F096E-E3C5-4C26-AC2F-69C658A54FC5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20" creationId="{914A22B2-49AF-48AE-A767-9D75030DD0A8}"/>
          </ac:spMkLst>
        </pc:spChg>
        <pc:spChg chg="add del mod">
          <ac:chgData name="Magnus Lütt" userId="a5ce4c93dcdbffd9" providerId="LiveId" clId="{21810284-B447-443F-81E8-427B9BD3EB0E}" dt="2021-12-11T12:18:36.136" v="89" actId="478"/>
          <ac:spMkLst>
            <pc:docMk/>
            <pc:sldMk cId="2033624841" sldId="294"/>
            <ac:spMk id="21" creationId="{F3A6A2F8-589A-4F51-9A1C-43203A27AE94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24" creationId="{21A0CF55-160E-40B1-A846-EEFB92BD16C7}"/>
          </ac:spMkLst>
        </pc:spChg>
        <pc:spChg chg="add del mod">
          <ac:chgData name="Magnus Lütt" userId="a5ce4c93dcdbffd9" providerId="LiveId" clId="{21810284-B447-443F-81E8-427B9BD3EB0E}" dt="2021-12-13T09:26:10.634" v="3039" actId="478"/>
          <ac:spMkLst>
            <pc:docMk/>
            <pc:sldMk cId="2033624841" sldId="294"/>
            <ac:spMk id="25" creationId="{41A4F3C4-7149-403B-9AB9-AFC12CBE4610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25" creationId="{D4CA306E-177F-4CE1-A354-88C4E9E06876}"/>
          </ac:spMkLst>
        </pc:spChg>
        <pc:spChg chg="add del mod">
          <ac:chgData name="Magnus Lütt" userId="a5ce4c93dcdbffd9" providerId="LiveId" clId="{21810284-B447-443F-81E8-427B9BD3EB0E}" dt="2021-12-13T12:28:57.799" v="3503" actId="478"/>
          <ac:spMkLst>
            <pc:docMk/>
            <pc:sldMk cId="2033624841" sldId="294"/>
            <ac:spMk id="25" creationId="{DC37510D-EDF5-754F-9B52-3499034AD813}"/>
          </ac:spMkLst>
        </pc:spChg>
        <pc:spChg chg="add del mod">
          <ac:chgData name="Magnus Lütt" userId="a5ce4c93dcdbffd9" providerId="LiveId" clId="{21810284-B447-443F-81E8-427B9BD3EB0E}" dt="2021-12-12T11:33:32.473" v="1725" actId="478"/>
          <ac:spMkLst>
            <pc:docMk/>
            <pc:sldMk cId="2033624841" sldId="294"/>
            <ac:spMk id="27" creationId="{10855462-2FAB-4365-811A-8861ECC14F48}"/>
          </ac:spMkLst>
        </pc:spChg>
        <pc:spChg chg="add del mod">
          <ac:chgData name="Magnus Lütt" userId="a5ce4c93dcdbffd9" providerId="LiveId" clId="{21810284-B447-443F-81E8-427B9BD3EB0E}" dt="2021-12-13T09:26:12.483" v="3040" actId="478"/>
          <ac:spMkLst>
            <pc:docMk/>
            <pc:sldMk cId="2033624841" sldId="294"/>
            <ac:spMk id="27" creationId="{1352C8A4-0977-4DEA-8163-6BD9A42A2975}"/>
          </ac:spMkLst>
        </pc:spChg>
        <pc:spChg chg="del mod">
          <ac:chgData name="Magnus Lütt" userId="a5ce4c93dcdbffd9" providerId="LiveId" clId="{21810284-B447-443F-81E8-427B9BD3EB0E}" dt="2021-12-13T12:28:55.402" v="3502" actId="478"/>
          <ac:spMkLst>
            <pc:docMk/>
            <pc:sldMk cId="2033624841" sldId="294"/>
            <ac:spMk id="27" creationId="{E84F1D14-EC7E-1E4A-9752-E552D7B099F4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28" creationId="{08CE3B82-318B-4C81-8612-29252E6D91EC}"/>
          </ac:spMkLst>
        </pc:spChg>
        <pc:spChg chg="add mod">
          <ac:chgData name="Magnus Lütt" userId="a5ce4c93dcdbffd9" providerId="LiveId" clId="{21810284-B447-443F-81E8-427B9BD3EB0E}" dt="2021-12-12T10:23:01.699" v="1377" actId="14100"/>
          <ac:spMkLst>
            <pc:docMk/>
            <pc:sldMk cId="2033624841" sldId="294"/>
            <ac:spMk id="28" creationId="{C0029B30-F970-4188-A797-E64E7288E0A8}"/>
          </ac:spMkLst>
        </pc:spChg>
        <pc:spChg chg="del">
          <ac:chgData name="Magnus Lütt" userId="a5ce4c93dcdbffd9" providerId="LiveId" clId="{21810284-B447-443F-81E8-427B9BD3EB0E}" dt="2021-12-11T12:18:06.209" v="69" actId="478"/>
          <ac:spMkLst>
            <pc:docMk/>
            <pc:sldMk cId="2033624841" sldId="294"/>
            <ac:spMk id="29" creationId="{11B0EECC-01B4-4288-B63F-28B99E7913F4}"/>
          </ac:spMkLst>
        </pc:spChg>
        <pc:spChg chg="add del mod">
          <ac:chgData name="Magnus Lütt" userId="a5ce4c93dcdbffd9" providerId="LiveId" clId="{21810284-B447-443F-81E8-427B9BD3EB0E}" dt="2021-12-13T12:28:53.198" v="3501" actId="478"/>
          <ac:spMkLst>
            <pc:docMk/>
            <pc:sldMk cId="2033624841" sldId="294"/>
            <ac:spMk id="29" creationId="{A6BC9EDD-A5FF-DA46-8FC7-60A9CF332376}"/>
          </ac:spMkLst>
        </pc:spChg>
        <pc:spChg chg="add mod">
          <ac:chgData name="Magnus Lütt" userId="a5ce4c93dcdbffd9" providerId="LiveId" clId="{21810284-B447-443F-81E8-427B9BD3EB0E}" dt="2021-12-12T22:58:32.721" v="2684" actId="14100"/>
          <ac:spMkLst>
            <pc:docMk/>
            <pc:sldMk cId="2033624841" sldId="294"/>
            <ac:spMk id="30" creationId="{C675B636-E1EF-4D58-8A2C-4EB373FE6670}"/>
          </ac:spMkLst>
        </pc:spChg>
        <pc:spChg chg="del mod">
          <ac:chgData name="Magnus Lütt" userId="a5ce4c93dcdbffd9" providerId="LiveId" clId="{21810284-B447-443F-81E8-427B9BD3EB0E}" dt="2021-12-11T13:33:37.500" v="787" actId="478"/>
          <ac:spMkLst>
            <pc:docMk/>
            <pc:sldMk cId="2033624841" sldId="294"/>
            <ac:spMk id="31" creationId="{A466A1C1-91D2-4A97-9680-0017B452BB8D}"/>
          </ac:spMkLst>
        </pc:spChg>
        <pc:spChg chg="del mod">
          <ac:chgData name="Magnus Lütt" userId="a5ce4c93dcdbffd9" providerId="LiveId" clId="{21810284-B447-443F-81E8-427B9BD3EB0E}" dt="2021-12-13T12:29:02.439" v="3504" actId="478"/>
          <ac:spMkLst>
            <pc:docMk/>
            <pc:sldMk cId="2033624841" sldId="294"/>
            <ac:spMk id="31" creationId="{F1F3EF2F-1686-DC4E-A4C1-CC1E328C4851}"/>
          </ac:spMkLst>
        </pc:spChg>
        <pc:spChg chg="add del mod">
          <ac:chgData name="Magnus Lütt" userId="a5ce4c93dcdbffd9" providerId="LiveId" clId="{21810284-B447-443F-81E8-427B9BD3EB0E}" dt="2021-12-12T18:31:25.263" v="2216" actId="478"/>
          <ac:spMkLst>
            <pc:docMk/>
            <pc:sldMk cId="2033624841" sldId="294"/>
            <ac:spMk id="32" creationId="{E5DDD47A-43C5-4364-AF03-FC2A43BA1932}"/>
          </ac:spMkLst>
        </pc:spChg>
        <pc:spChg chg="del">
          <ac:chgData name="Magnus Lütt" userId="a5ce4c93dcdbffd9" providerId="LiveId" clId="{21810284-B447-443F-81E8-427B9BD3EB0E}" dt="2021-12-12T11:50:47.097" v="2161" actId="478"/>
          <ac:spMkLst>
            <pc:docMk/>
            <pc:sldMk cId="2033624841" sldId="294"/>
            <ac:spMk id="33" creationId="{4D70A02C-56A4-4411-932D-30B4F49234A0}"/>
          </ac:spMkLst>
        </pc:spChg>
        <pc:spChg chg="del">
          <ac:chgData name="Magnus Lütt" userId="a5ce4c93dcdbffd9" providerId="LiveId" clId="{21810284-B447-443F-81E8-427B9BD3EB0E}" dt="2021-12-12T11:50:47.097" v="2161" actId="478"/>
          <ac:spMkLst>
            <pc:docMk/>
            <pc:sldMk cId="2033624841" sldId="294"/>
            <ac:spMk id="34" creationId="{554F38FF-5779-4B65-9AB8-431BA11D243D}"/>
          </ac:spMkLst>
        </pc:spChg>
        <pc:spChg chg="add del mod">
          <ac:chgData name="Magnus Lütt" userId="a5ce4c93dcdbffd9" providerId="LiveId" clId="{21810284-B447-443F-81E8-427B9BD3EB0E}" dt="2021-12-11T13:49:21.038" v="1034" actId="478"/>
          <ac:spMkLst>
            <pc:docMk/>
            <pc:sldMk cId="2033624841" sldId="294"/>
            <ac:spMk id="35" creationId="{29508023-9E81-45D5-9BFE-BDD5F1768161}"/>
          </ac:spMkLst>
        </pc:spChg>
        <pc:spChg chg="add mod">
          <ac:chgData name="Magnus Lütt" userId="a5ce4c93dcdbffd9" providerId="LiveId" clId="{21810284-B447-443F-81E8-427B9BD3EB0E}" dt="2021-12-13T09:27:05.315" v="3069" actId="1076"/>
          <ac:spMkLst>
            <pc:docMk/>
            <pc:sldMk cId="2033624841" sldId="294"/>
            <ac:spMk id="35" creationId="{F4361EFA-E2B8-4658-B34C-3952533A5CC2}"/>
          </ac:spMkLst>
        </pc:spChg>
        <pc:spChg chg="add mod">
          <ac:chgData name="Magnus Lütt" userId="a5ce4c93dcdbffd9" providerId="LiveId" clId="{21810284-B447-443F-81E8-427B9BD3EB0E}" dt="2021-12-13T12:32:32.206" v="3567" actId="14100"/>
          <ac:spMkLst>
            <pc:docMk/>
            <pc:sldMk cId="2033624841" sldId="294"/>
            <ac:spMk id="36" creationId="{8F2709EB-F20D-48D4-96DA-AC861F4F9AC6}"/>
          </ac:spMkLst>
        </pc:spChg>
        <pc:spChg chg="del mod">
          <ac:chgData name="Magnus Lütt" userId="a5ce4c93dcdbffd9" providerId="LiveId" clId="{21810284-B447-443F-81E8-427B9BD3EB0E}" dt="2021-12-11T13:48:27.478" v="940" actId="478"/>
          <ac:spMkLst>
            <pc:docMk/>
            <pc:sldMk cId="2033624841" sldId="294"/>
            <ac:spMk id="36" creationId="{F113129A-59CA-4E84-AEC4-B818D651D8D8}"/>
          </ac:spMkLst>
        </pc:spChg>
        <pc:spChg chg="add">
          <ac:chgData name="Magnus Lütt" userId="a5ce4c93dcdbffd9" providerId="LiveId" clId="{21810284-B447-443F-81E8-427B9BD3EB0E}" dt="2021-12-12T10:59:36.853" v="1568"/>
          <ac:spMkLst>
            <pc:docMk/>
            <pc:sldMk cId="2033624841" sldId="294"/>
            <ac:spMk id="37" creationId="{DE5DFC85-9952-4D88-A075-F7B3C593C8E9}"/>
          </ac:spMkLst>
        </pc:spChg>
        <pc:spChg chg="del mod">
          <ac:chgData name="Magnus Lütt" userId="a5ce4c93dcdbffd9" providerId="LiveId" clId="{21810284-B447-443F-81E8-427B9BD3EB0E}" dt="2021-12-12T10:33:56.409" v="1534" actId="478"/>
          <ac:spMkLst>
            <pc:docMk/>
            <pc:sldMk cId="2033624841" sldId="294"/>
            <ac:spMk id="39" creationId="{31678F57-5E06-4B87-B7FF-98741850FD7C}"/>
          </ac:spMkLst>
        </pc:spChg>
        <pc:spChg chg="add del mod">
          <ac:chgData name="Magnus Lütt" userId="a5ce4c93dcdbffd9" providerId="LiveId" clId="{21810284-B447-443F-81E8-427B9BD3EB0E}" dt="2021-12-11T12:44:24.265" v="279" actId="478"/>
          <ac:spMkLst>
            <pc:docMk/>
            <pc:sldMk cId="2033624841" sldId="294"/>
            <ac:spMk id="40" creationId="{3E1CDBF5-F4AE-4486-8E76-32BCB32709D8}"/>
          </ac:spMkLst>
        </pc:spChg>
        <pc:spChg chg="add mod">
          <ac:chgData name="Magnus Lütt" userId="a5ce4c93dcdbffd9" providerId="LiveId" clId="{21810284-B447-443F-81E8-427B9BD3EB0E}" dt="2021-12-12T22:09:53.046" v="2607" actId="1076"/>
          <ac:spMkLst>
            <pc:docMk/>
            <pc:sldMk cId="2033624841" sldId="294"/>
            <ac:spMk id="41" creationId="{99CE9F68-7729-473B-BB10-099A39D6770A}"/>
          </ac:spMkLst>
        </pc:spChg>
        <pc:spChg chg="add del mod ord">
          <ac:chgData name="Magnus Lütt" userId="a5ce4c93dcdbffd9" providerId="LiveId" clId="{21810284-B447-443F-81E8-427B9BD3EB0E}" dt="2021-12-12T11:49:55.557" v="2157" actId="478"/>
          <ac:spMkLst>
            <pc:docMk/>
            <pc:sldMk cId="2033624841" sldId="294"/>
            <ac:spMk id="42" creationId="{632B2822-7318-4362-8C13-B7F54D29702C}"/>
          </ac:spMkLst>
        </pc:spChg>
        <pc:spChg chg="mod ord topLvl">
          <ac:chgData name="Magnus Lütt" userId="a5ce4c93dcdbffd9" providerId="LiveId" clId="{21810284-B447-443F-81E8-427B9BD3EB0E}" dt="2021-12-13T09:27:48.834" v="3078" actId="20577"/>
          <ac:spMkLst>
            <pc:docMk/>
            <pc:sldMk cId="2033624841" sldId="294"/>
            <ac:spMk id="45" creationId="{79C26BE6-FFFA-469B-99E3-6AD310809BB1}"/>
          </ac:spMkLst>
        </pc:spChg>
        <pc:spChg chg="mod ord">
          <ac:chgData name="Magnus Lütt" userId="a5ce4c93dcdbffd9" providerId="LiveId" clId="{21810284-B447-443F-81E8-427B9BD3EB0E}" dt="2021-12-13T09:25:34.129" v="3030" actId="1076"/>
          <ac:spMkLst>
            <pc:docMk/>
            <pc:sldMk cId="2033624841" sldId="294"/>
            <ac:spMk id="46" creationId="{5223B384-2DFA-4D3A-9267-94B84DEADF77}"/>
          </ac:spMkLst>
        </pc:spChg>
        <pc:spChg chg="mod ord">
          <ac:chgData name="Magnus Lütt" userId="a5ce4c93dcdbffd9" providerId="LiveId" clId="{21810284-B447-443F-81E8-427B9BD3EB0E}" dt="2021-12-13T09:25:30.349" v="3029" actId="1076"/>
          <ac:spMkLst>
            <pc:docMk/>
            <pc:sldMk cId="2033624841" sldId="294"/>
            <ac:spMk id="47" creationId="{3DA134BB-A773-4781-982C-3BA003CC8DEC}"/>
          </ac:spMkLst>
        </pc:spChg>
        <pc:spChg chg="add mod ord">
          <ac:chgData name="Magnus Lütt" userId="a5ce4c93dcdbffd9" providerId="LiveId" clId="{21810284-B447-443F-81E8-427B9BD3EB0E}" dt="2021-12-12T22:58:14.763" v="2682" actId="14100"/>
          <ac:spMkLst>
            <pc:docMk/>
            <pc:sldMk cId="2033624841" sldId="294"/>
            <ac:spMk id="48" creationId="{912B500B-6173-4761-8E55-F151F3F3702A}"/>
          </ac:spMkLst>
        </pc:spChg>
        <pc:spChg chg="add del mod">
          <ac:chgData name="Magnus Lütt" userId="a5ce4c93dcdbffd9" providerId="LiveId" clId="{21810284-B447-443F-81E8-427B9BD3EB0E}" dt="2021-12-11T13:22:36.733" v="683" actId="478"/>
          <ac:spMkLst>
            <pc:docMk/>
            <pc:sldMk cId="2033624841" sldId="294"/>
            <ac:spMk id="49" creationId="{522BBEA3-8B88-49D2-97CF-43290B1D400F}"/>
          </ac:spMkLst>
        </pc:spChg>
        <pc:spChg chg="mod">
          <ac:chgData name="Magnus Lütt" userId="a5ce4c93dcdbffd9" providerId="LiveId" clId="{21810284-B447-443F-81E8-427B9BD3EB0E}" dt="2021-12-13T09:26:46.304" v="3063" actId="14100"/>
          <ac:spMkLst>
            <pc:docMk/>
            <pc:sldMk cId="2033624841" sldId="294"/>
            <ac:spMk id="51" creationId="{387AD07E-8AEE-46E0-8734-7B0597E6450D}"/>
          </ac:spMkLst>
        </pc:spChg>
        <pc:spChg chg="mod">
          <ac:chgData name="Magnus Lütt" userId="a5ce4c93dcdbffd9" providerId="LiveId" clId="{21810284-B447-443F-81E8-427B9BD3EB0E}" dt="2021-12-12T11:12:29.108" v="1609" actId="207"/>
          <ac:spMkLst>
            <pc:docMk/>
            <pc:sldMk cId="2033624841" sldId="294"/>
            <ac:spMk id="52" creationId="{BEE53D5F-2325-4836-945E-629AAFAF1CDF}"/>
          </ac:spMkLst>
        </pc:spChg>
        <pc:spChg chg="add mod ord">
          <ac:chgData name="Magnus Lütt" userId="a5ce4c93dcdbffd9" providerId="LiveId" clId="{21810284-B447-443F-81E8-427B9BD3EB0E}" dt="2021-12-13T09:27:36.942" v="3075" actId="1076"/>
          <ac:spMkLst>
            <pc:docMk/>
            <pc:sldMk cId="2033624841" sldId="294"/>
            <ac:spMk id="53" creationId="{E3EA15EF-FC95-4AF3-90F0-FF01D64A41CC}"/>
          </ac:spMkLst>
        </pc:spChg>
        <pc:spChg chg="add mod ord">
          <ac:chgData name="Magnus Lütt" userId="a5ce4c93dcdbffd9" providerId="LiveId" clId="{21810284-B447-443F-81E8-427B9BD3EB0E}" dt="2021-12-12T19:05:19.054" v="2602"/>
          <ac:spMkLst>
            <pc:docMk/>
            <pc:sldMk cId="2033624841" sldId="294"/>
            <ac:spMk id="54" creationId="{DBBBC19A-750F-494B-8CAF-D7B46FF7286E}"/>
          </ac:spMkLst>
        </pc:spChg>
        <pc:spChg chg="add del mod ord">
          <ac:chgData name="Magnus Lütt" userId="a5ce4c93dcdbffd9" providerId="LiveId" clId="{21810284-B447-443F-81E8-427B9BD3EB0E}" dt="2021-12-11T13:46:38.024" v="910" actId="478"/>
          <ac:spMkLst>
            <pc:docMk/>
            <pc:sldMk cId="2033624841" sldId="294"/>
            <ac:spMk id="55" creationId="{FBBE9CB3-BC63-4D1C-B5C6-7BC9F1BBDE4A}"/>
          </ac:spMkLst>
        </pc:spChg>
        <pc:grpChg chg="add mod">
          <ac:chgData name="Magnus Lütt" userId="a5ce4c93dcdbffd9" providerId="LiveId" clId="{21810284-B447-443F-81E8-427B9BD3EB0E}" dt="2021-12-13T09:27:36.942" v="3075" actId="1076"/>
          <ac:grpSpMkLst>
            <pc:docMk/>
            <pc:sldMk cId="2033624841" sldId="294"/>
            <ac:grpSpMk id="6" creationId="{DFC37E00-263F-453D-86FC-B6F54D40C794}"/>
          </ac:grpSpMkLst>
        </pc:grpChg>
        <pc:grpChg chg="add del mod">
          <ac:chgData name="Magnus Lütt" userId="a5ce4c93dcdbffd9" providerId="LiveId" clId="{21810284-B447-443F-81E8-427B9BD3EB0E}" dt="2021-12-11T13:13:19.172" v="647" actId="165"/>
          <ac:grpSpMkLst>
            <pc:docMk/>
            <pc:sldMk cId="2033624841" sldId="294"/>
            <ac:grpSpMk id="43" creationId="{84E4784A-2C23-4C1C-9EFB-CEB40AD57510}"/>
          </ac:grpSpMkLst>
        </pc:grpChg>
        <pc:grpChg chg="mod ord topLvl">
          <ac:chgData name="Magnus Lütt" userId="a5ce4c93dcdbffd9" providerId="LiveId" clId="{21810284-B447-443F-81E8-427B9BD3EB0E}" dt="2021-12-13T09:26:24.813" v="3059" actId="1076"/>
          <ac:grpSpMkLst>
            <pc:docMk/>
            <pc:sldMk cId="2033624841" sldId="294"/>
            <ac:grpSpMk id="44" creationId="{DA34F38E-E78D-4686-AA60-AC45BAC4C589}"/>
          </ac:grpSpMkLst>
        </pc:grpChg>
        <pc:grpChg chg="add mod">
          <ac:chgData name="Magnus Lütt" userId="a5ce4c93dcdbffd9" providerId="LiveId" clId="{21810284-B447-443F-81E8-427B9BD3EB0E}" dt="2021-12-12T11:12:29.108" v="1609" actId="207"/>
          <ac:grpSpMkLst>
            <pc:docMk/>
            <pc:sldMk cId="2033624841" sldId="294"/>
            <ac:grpSpMk id="50" creationId="{87B1FD4D-C32C-4585-80CB-A0074DD900E5}"/>
          </ac:grpSpMkLst>
        </pc:grpChg>
        <pc:picChg chg="add mod ord">
          <ac:chgData name="Magnus Lütt" userId="a5ce4c93dcdbffd9" providerId="LiveId" clId="{21810284-B447-443F-81E8-427B9BD3EB0E}" dt="2021-12-12T18:31:34.514" v="2219" actId="1076"/>
          <ac:picMkLst>
            <pc:docMk/>
            <pc:sldMk cId="2033624841" sldId="294"/>
            <ac:picMk id="3" creationId="{2AF4457D-AFE7-4E6D-B69F-6CF25FF57FFB}"/>
          </ac:picMkLst>
        </pc:picChg>
        <pc:picChg chg="add mod modCrop">
          <ac:chgData name="Magnus Lütt" userId="a5ce4c93dcdbffd9" providerId="LiveId" clId="{21810284-B447-443F-81E8-427B9BD3EB0E}" dt="2021-12-13T09:27:40.660" v="3076" actId="1076"/>
          <ac:picMkLst>
            <pc:docMk/>
            <pc:sldMk cId="2033624841" sldId="294"/>
            <ac:picMk id="5" creationId="{E74E7706-4F02-47E7-98CF-8754DB882B49}"/>
          </ac:picMkLst>
        </pc:picChg>
        <pc:picChg chg="add del mod">
          <ac:chgData name="Magnus Lütt" userId="a5ce4c93dcdbffd9" providerId="LiveId" clId="{21810284-B447-443F-81E8-427B9BD3EB0E}" dt="2021-12-11T12:38:35.866" v="226" actId="21"/>
          <ac:picMkLst>
            <pc:docMk/>
            <pc:sldMk cId="2033624841" sldId="294"/>
            <ac:picMk id="8" creationId="{27810B6B-A625-4BD3-BC19-92459C9A8DA4}"/>
          </ac:picMkLst>
        </pc:picChg>
        <pc:picChg chg="add del mod">
          <ac:chgData name="Magnus Lütt" userId="a5ce4c93dcdbffd9" providerId="LiveId" clId="{21810284-B447-443F-81E8-427B9BD3EB0E}" dt="2021-12-12T18:31:13.265" v="2211" actId="478"/>
          <ac:picMkLst>
            <pc:docMk/>
            <pc:sldMk cId="2033624841" sldId="294"/>
            <ac:picMk id="2050" creationId="{CE8EFAE4-9060-4984-8DC1-1E6C757ABA6A}"/>
          </ac:picMkLst>
        </pc:picChg>
        <pc:picChg chg="add del mod">
          <ac:chgData name="Magnus Lütt" userId="a5ce4c93dcdbffd9" providerId="LiveId" clId="{21810284-B447-443F-81E8-427B9BD3EB0E}" dt="2021-12-12T11:48:20.529" v="2139" actId="478"/>
          <ac:picMkLst>
            <pc:docMk/>
            <pc:sldMk cId="2033624841" sldId="294"/>
            <ac:picMk id="2052" creationId="{42DB8994-0CA4-4642-86B2-CBEFBFB25363}"/>
          </ac:picMkLst>
        </pc:picChg>
      </pc:sldChg>
      <pc:sldChg chg="addSp modSp mod">
        <pc:chgData name="Magnus Lütt" userId="a5ce4c93dcdbffd9" providerId="LiveId" clId="{21810284-B447-443F-81E8-427B9BD3EB0E}" dt="2021-12-12T18:44:39.199" v="2228" actId="1076"/>
        <pc:sldMkLst>
          <pc:docMk/>
          <pc:sldMk cId="1780235161" sldId="295"/>
        </pc:sldMkLst>
        <pc:spChg chg="add">
          <ac:chgData name="Magnus Lütt" userId="a5ce4c93dcdbffd9" providerId="LiveId" clId="{21810284-B447-443F-81E8-427B9BD3EB0E}" dt="2021-12-12T10:59:36.853" v="1568"/>
          <ac:spMkLst>
            <pc:docMk/>
            <pc:sldMk cId="1780235161" sldId="295"/>
            <ac:spMk id="20" creationId="{F4C7040B-1F71-4A80-A149-3A194D521A5D}"/>
          </ac:spMkLst>
        </pc:spChg>
        <pc:spChg chg="mod">
          <ac:chgData name="Magnus Lütt" userId="a5ce4c93dcdbffd9" providerId="LiveId" clId="{21810284-B447-443F-81E8-427B9BD3EB0E}" dt="2021-12-12T11:12:50.406" v="1613" actId="1076"/>
          <ac:spMkLst>
            <pc:docMk/>
            <pc:sldMk cId="1780235161" sldId="295"/>
            <ac:spMk id="21" creationId="{CD7BD810-4390-4D67-8764-3BC40F1B2FBC}"/>
          </ac:spMkLst>
        </pc:spChg>
        <pc:spChg chg="mod">
          <ac:chgData name="Magnus Lütt" userId="a5ce4c93dcdbffd9" providerId="LiveId" clId="{21810284-B447-443F-81E8-427B9BD3EB0E}" dt="2021-12-12T11:12:46.924" v="1612" actId="1076"/>
          <ac:spMkLst>
            <pc:docMk/>
            <pc:sldMk cId="1780235161" sldId="295"/>
            <ac:spMk id="34" creationId="{A4905D79-023C-4A8D-9217-B9288B513675}"/>
          </ac:spMkLst>
        </pc:spChg>
        <pc:grpChg chg="mod">
          <ac:chgData name="Magnus Lütt" userId="a5ce4c93dcdbffd9" providerId="LiveId" clId="{21810284-B447-443F-81E8-427B9BD3EB0E}" dt="2021-12-12T11:12:43.990" v="1611" actId="1076"/>
          <ac:grpSpMkLst>
            <pc:docMk/>
            <pc:sldMk cId="1780235161" sldId="295"/>
            <ac:grpSpMk id="19" creationId="{F0A483E4-0D4E-4239-ABDE-60318BC52574}"/>
          </ac:grpSpMkLst>
        </pc:grpChg>
        <pc:grpChg chg="mod">
          <ac:chgData name="Magnus Lütt" userId="a5ce4c93dcdbffd9" providerId="LiveId" clId="{21810284-B447-443F-81E8-427B9BD3EB0E}" dt="2021-12-12T11:12:43.990" v="1611" actId="1076"/>
          <ac:grpSpMkLst>
            <pc:docMk/>
            <pc:sldMk cId="1780235161" sldId="295"/>
            <ac:grpSpMk id="31" creationId="{0BF75634-B360-49AE-98BE-774E0D87E765}"/>
          </ac:grpSpMkLst>
        </pc:grpChg>
        <pc:picChg chg="add mod">
          <ac:chgData name="Magnus Lütt" userId="a5ce4c93dcdbffd9" providerId="LiveId" clId="{21810284-B447-443F-81E8-427B9BD3EB0E}" dt="2021-12-12T18:44:39.199" v="2228" actId="1076"/>
          <ac:picMkLst>
            <pc:docMk/>
            <pc:sldMk cId="1780235161" sldId="295"/>
            <ac:picMk id="6" creationId="{DEF26F0A-62BB-4BEF-8018-C22A833F285C}"/>
          </ac:picMkLst>
        </pc:picChg>
      </pc:sldChg>
      <pc:sldChg chg="addSp delSp modSp mod">
        <pc:chgData name="Magnus Lütt" userId="a5ce4c93dcdbffd9" providerId="LiveId" clId="{21810284-B447-443F-81E8-427B9BD3EB0E}" dt="2021-12-13T10:13:01.663" v="3256" actId="20577"/>
        <pc:sldMkLst>
          <pc:docMk/>
          <pc:sldMk cId="3362921512" sldId="296"/>
        </pc:sldMkLst>
        <pc:spChg chg="add del">
          <ac:chgData name="Magnus Lütt" userId="a5ce4c93dcdbffd9" providerId="LiveId" clId="{21810284-B447-443F-81E8-427B9BD3EB0E}" dt="2021-12-13T09:09:05.571" v="2920" actId="22"/>
          <ac:spMkLst>
            <pc:docMk/>
            <pc:sldMk cId="3362921512" sldId="296"/>
            <ac:spMk id="48" creationId="{954C963A-206A-4A95-954D-1B8DBFD233CC}"/>
          </ac:spMkLst>
        </pc:spChg>
        <pc:spChg chg="add mod">
          <ac:chgData name="Magnus Lütt" userId="a5ce4c93dcdbffd9" providerId="LiveId" clId="{21810284-B447-443F-81E8-427B9BD3EB0E}" dt="2021-12-13T10:13:01.663" v="3256" actId="20577"/>
          <ac:spMkLst>
            <pc:docMk/>
            <pc:sldMk cId="3362921512" sldId="296"/>
            <ac:spMk id="48" creationId="{9CF31DB6-20F9-47C1-A9EE-5DF87AB9FB3A}"/>
          </ac:spMkLst>
        </pc:spChg>
        <pc:spChg chg="add mod">
          <ac:chgData name="Magnus Lütt" userId="a5ce4c93dcdbffd9" providerId="LiveId" clId="{21810284-B447-443F-81E8-427B9BD3EB0E}" dt="2021-12-13T10:12:32.988" v="3234" actId="14100"/>
          <ac:spMkLst>
            <pc:docMk/>
            <pc:sldMk cId="3362921512" sldId="296"/>
            <ac:spMk id="54" creationId="{77A0F3DF-5675-4CFA-B540-CCBCBCBA98B3}"/>
          </ac:spMkLst>
        </pc:spChg>
        <pc:spChg chg="mod">
          <ac:chgData name="Magnus Lütt" userId="a5ce4c93dcdbffd9" providerId="LiveId" clId="{21810284-B447-443F-81E8-427B9BD3EB0E}" dt="2021-12-13T09:19:08.699" v="2962" actId="20577"/>
          <ac:spMkLst>
            <pc:docMk/>
            <pc:sldMk cId="3362921512" sldId="296"/>
            <ac:spMk id="66" creationId="{BBD5EF19-E158-4AB0-B9E2-DFA29762C00F}"/>
          </ac:spMkLst>
        </pc:spChg>
        <pc:spChg chg="mod">
          <ac:chgData name="Magnus Lütt" userId="a5ce4c93dcdbffd9" providerId="LiveId" clId="{21810284-B447-443F-81E8-427B9BD3EB0E}" dt="2021-12-13T09:17:43.539" v="2955" actId="1076"/>
          <ac:spMkLst>
            <pc:docMk/>
            <pc:sldMk cId="3362921512" sldId="296"/>
            <ac:spMk id="68" creationId="{F5634255-858A-48DA-B36D-3B55BD8A6EE9}"/>
          </ac:spMkLst>
        </pc:spChg>
        <pc:spChg chg="mod">
          <ac:chgData name="Magnus Lütt" userId="a5ce4c93dcdbffd9" providerId="LiveId" clId="{21810284-B447-443F-81E8-427B9BD3EB0E}" dt="2021-12-12T22:58:54.123" v="2686" actId="1076"/>
          <ac:spMkLst>
            <pc:docMk/>
            <pc:sldMk cId="3362921512" sldId="296"/>
            <ac:spMk id="70" creationId="{FE30978E-7612-4A21-9E96-D6563F367FE7}"/>
          </ac:spMkLst>
        </pc:spChg>
        <pc:spChg chg="mod">
          <ac:chgData name="Magnus Lütt" userId="a5ce4c93dcdbffd9" providerId="LiveId" clId="{21810284-B447-443F-81E8-427B9BD3EB0E}" dt="2021-12-13T10:11:24.315" v="3123" actId="20577"/>
          <ac:spMkLst>
            <pc:docMk/>
            <pc:sldMk cId="3362921512" sldId="296"/>
            <ac:spMk id="71" creationId="{DFE6D03E-2108-40DC-83EE-3CBEDF2050B2}"/>
          </ac:spMkLst>
        </pc:spChg>
        <pc:spChg chg="mod">
          <ac:chgData name="Magnus Lütt" userId="a5ce4c93dcdbffd9" providerId="LiveId" clId="{21810284-B447-443F-81E8-427B9BD3EB0E}" dt="2021-12-13T10:11:26.440" v="3125" actId="20577"/>
          <ac:spMkLst>
            <pc:docMk/>
            <pc:sldMk cId="3362921512" sldId="296"/>
            <ac:spMk id="72" creationId="{02FAB249-352B-4C66-9E53-2CBEF0C3ACB7}"/>
          </ac:spMkLst>
        </pc:spChg>
        <pc:grpChg chg="mod">
          <ac:chgData name="Magnus Lütt" userId="a5ce4c93dcdbffd9" providerId="LiveId" clId="{21810284-B447-443F-81E8-427B9BD3EB0E}" dt="2021-12-13T10:12:38.718" v="3235" actId="1076"/>
          <ac:grpSpMkLst>
            <pc:docMk/>
            <pc:sldMk cId="3362921512" sldId="296"/>
            <ac:grpSpMk id="11" creationId="{D4791EE6-31BA-49A2-9B83-6858274A49CF}"/>
          </ac:grpSpMkLst>
        </pc:grpChg>
        <pc:picChg chg="del">
          <ac:chgData name="Magnus Lütt" userId="a5ce4c93dcdbffd9" providerId="LiveId" clId="{21810284-B447-443F-81E8-427B9BD3EB0E}" dt="2021-12-13T09:08:43.122" v="2914" actId="478"/>
          <ac:picMkLst>
            <pc:docMk/>
            <pc:sldMk cId="3362921512" sldId="296"/>
            <ac:picMk id="5" creationId="{30F47525-798E-4D19-9D3A-00415AFCD62D}"/>
          </ac:picMkLst>
        </pc:picChg>
        <pc:picChg chg="add mod modCrop">
          <ac:chgData name="Magnus Lütt" userId="a5ce4c93dcdbffd9" providerId="LiveId" clId="{21810284-B447-443F-81E8-427B9BD3EB0E}" dt="2021-12-13T10:12:30.369" v="3231" actId="1076"/>
          <ac:picMkLst>
            <pc:docMk/>
            <pc:sldMk cId="3362921512" sldId="296"/>
            <ac:picMk id="6" creationId="{06ADDED8-2B8B-48B9-8476-F7BC00E23D42}"/>
          </ac:picMkLst>
        </pc:picChg>
        <pc:picChg chg="add del mod modCrop">
          <ac:chgData name="Magnus Lütt" userId="a5ce4c93dcdbffd9" providerId="LiveId" clId="{21810284-B447-443F-81E8-427B9BD3EB0E}" dt="2021-12-13T10:10:34.124" v="3114" actId="478"/>
          <ac:picMkLst>
            <pc:docMk/>
            <pc:sldMk cId="3362921512" sldId="296"/>
            <ac:picMk id="7" creationId="{9EDBAC92-6F61-4F50-A9EF-EAB44AF144FC}"/>
          </ac:picMkLst>
        </pc:picChg>
      </pc:sldChg>
    </pc:docChg>
  </pc:docChgLst>
  <pc:docChgLst>
    <pc:chgData name="Guest User" providerId="Windows Live" clId="Web-{CB06A472-BB08-488B-BB83-ED6E3D0B39ED}"/>
    <pc:docChg chg="modSld">
      <pc:chgData name="Guest User" userId="" providerId="Windows Live" clId="Web-{CB06A472-BB08-488B-BB83-ED6E3D0B39ED}" dt="2021-12-13T08:40:49.914" v="112" actId="20577"/>
      <pc:docMkLst>
        <pc:docMk/>
      </pc:docMkLst>
      <pc:sldChg chg="modSp">
        <pc:chgData name="Guest User" userId="" providerId="Windows Live" clId="Web-{CB06A472-BB08-488B-BB83-ED6E3D0B39ED}" dt="2021-12-13T08:15:33.888" v="61" actId="20577"/>
        <pc:sldMkLst>
          <pc:docMk/>
          <pc:sldMk cId="2033624841" sldId="294"/>
        </pc:sldMkLst>
        <pc:spChg chg="mod">
          <ac:chgData name="Guest User" userId="" providerId="Windows Live" clId="Web-{CB06A472-BB08-488B-BB83-ED6E3D0B39ED}" dt="2021-12-13T08:15:33.888" v="61" actId="20577"/>
          <ac:spMkLst>
            <pc:docMk/>
            <pc:sldMk cId="2033624841" sldId="294"/>
            <ac:spMk id="36" creationId="{8F2709EB-F20D-48D4-96DA-AC861F4F9AC6}"/>
          </ac:spMkLst>
        </pc:spChg>
        <pc:spChg chg="mod">
          <ac:chgData name="Guest User" userId="" providerId="Windows Live" clId="Web-{CB06A472-BB08-488B-BB83-ED6E3D0B39ED}" dt="2021-12-13T08:12:37.774" v="9" actId="20577"/>
          <ac:spMkLst>
            <pc:docMk/>
            <pc:sldMk cId="2033624841" sldId="294"/>
            <ac:spMk id="41" creationId="{99CE9F68-7729-473B-BB10-099A39D6770A}"/>
          </ac:spMkLst>
        </pc:spChg>
        <pc:spChg chg="mod">
          <ac:chgData name="Guest User" userId="" providerId="Windows Live" clId="Web-{CB06A472-BB08-488B-BB83-ED6E3D0B39ED}" dt="2021-12-13T07:54:38.181" v="0" actId="20577"/>
          <ac:spMkLst>
            <pc:docMk/>
            <pc:sldMk cId="2033624841" sldId="294"/>
            <ac:spMk id="54" creationId="{DBBBC19A-750F-494B-8CAF-D7B46FF7286E}"/>
          </ac:spMkLst>
        </pc:spChg>
      </pc:sldChg>
      <pc:sldChg chg="addSp delSp modSp">
        <pc:chgData name="Guest User" userId="" providerId="Windows Live" clId="Web-{CB06A472-BB08-488B-BB83-ED6E3D0B39ED}" dt="2021-12-13T08:40:49.914" v="112" actId="20577"/>
        <pc:sldMkLst>
          <pc:docMk/>
          <pc:sldMk cId="3362921512" sldId="296"/>
        </pc:sldMkLst>
        <pc:spChg chg="mod">
          <ac:chgData name="Guest User" userId="" providerId="Windows Live" clId="Web-{CB06A472-BB08-488B-BB83-ED6E3D0B39ED}" dt="2021-12-13T08:29:18.614" v="68" actId="20577"/>
          <ac:spMkLst>
            <pc:docMk/>
            <pc:sldMk cId="3362921512" sldId="296"/>
            <ac:spMk id="25" creationId="{263BB1FE-D9D6-4746-BCBD-1B8B00593CAD}"/>
          </ac:spMkLst>
        </pc:spChg>
        <pc:spChg chg="mod">
          <ac:chgData name="Guest User" userId="" providerId="Windows Live" clId="Web-{CB06A472-BB08-488B-BB83-ED6E3D0B39ED}" dt="2021-12-13T08:40:49.914" v="112" actId="20577"/>
          <ac:spMkLst>
            <pc:docMk/>
            <pc:sldMk cId="3362921512" sldId="296"/>
            <ac:spMk id="66" creationId="{BBD5EF19-E158-4AB0-B9E2-DFA29762C00F}"/>
          </ac:spMkLst>
        </pc:spChg>
        <pc:spChg chg="mod">
          <ac:chgData name="Guest User" userId="" providerId="Windows Live" clId="Web-{CB06A472-BB08-488B-BB83-ED6E3D0B39ED}" dt="2021-12-13T08:40:14.929" v="96" actId="20577"/>
          <ac:spMkLst>
            <pc:docMk/>
            <pc:sldMk cId="3362921512" sldId="296"/>
            <ac:spMk id="67" creationId="{5539B791-8F08-43CF-A73F-3D37E00BD710}"/>
          </ac:spMkLst>
        </pc:spChg>
        <pc:spChg chg="mod">
          <ac:chgData name="Guest User" userId="" providerId="Windows Live" clId="Web-{CB06A472-BB08-488B-BB83-ED6E3D0B39ED}" dt="2021-12-13T08:34:12.684" v="76" actId="20577"/>
          <ac:spMkLst>
            <pc:docMk/>
            <pc:sldMk cId="3362921512" sldId="296"/>
            <ac:spMk id="70" creationId="{FE30978E-7612-4A21-9E96-D6563F367FE7}"/>
          </ac:spMkLst>
        </pc:spChg>
        <pc:picChg chg="add mod ord">
          <ac:chgData name="Guest User" userId="" providerId="Windows Live" clId="Web-{CB06A472-BB08-488B-BB83-ED6E3D0B39ED}" dt="2021-12-13T08:20:04.567" v="66"/>
          <ac:picMkLst>
            <pc:docMk/>
            <pc:sldMk cId="3362921512" sldId="296"/>
            <ac:picMk id="5" creationId="{30F47525-798E-4D19-9D3A-00415AFCD62D}"/>
          </ac:picMkLst>
        </pc:picChg>
        <pc:picChg chg="del">
          <ac:chgData name="Guest User" userId="" providerId="Windows Live" clId="Web-{CB06A472-BB08-488B-BB83-ED6E3D0B39ED}" dt="2021-12-13T08:20:06.208" v="67"/>
          <ac:picMkLst>
            <pc:docMk/>
            <pc:sldMk cId="3362921512" sldId="296"/>
            <ac:picMk id="29" creationId="{644E710B-5FA3-48A6-B406-8ADFDFED593D}"/>
          </ac:picMkLst>
        </pc:picChg>
      </pc:sldChg>
    </pc:docChg>
  </pc:docChgLst>
  <pc:docChgLst>
    <pc:chgData clId="Web-{2BBE031E-80DA-4806-ABB5-5E90FFBF3A00}"/>
    <pc:docChg chg="delSld modSection">
      <pc:chgData name="" userId="" providerId="" clId="Web-{2BBE031E-80DA-4806-ABB5-5E90FFBF3A00}" dt="2021-12-10T15:11:52.652" v="2"/>
      <pc:docMkLst>
        <pc:docMk/>
      </pc:docMkLst>
      <pc:sldChg chg="del">
        <pc:chgData name="" userId="" providerId="" clId="Web-{2BBE031E-80DA-4806-ABB5-5E90FFBF3A00}" dt="2021-12-10T15:11:52.652" v="2"/>
        <pc:sldMkLst>
          <pc:docMk/>
          <pc:sldMk cId="0" sldId="256"/>
        </pc:sldMkLst>
      </pc:sldChg>
      <pc:sldChg chg="del">
        <pc:chgData name="" userId="" providerId="" clId="Web-{2BBE031E-80DA-4806-ABB5-5E90FFBF3A00}" dt="2021-12-10T15:11:52.652" v="1"/>
        <pc:sldMkLst>
          <pc:docMk/>
          <pc:sldMk cId="801734895" sldId="273"/>
        </pc:sldMkLst>
      </pc:sldChg>
      <pc:sldChg chg="del">
        <pc:chgData name="" userId="" providerId="" clId="Web-{2BBE031E-80DA-4806-ABB5-5E90FFBF3A00}" dt="2021-12-10T15:11:52.652" v="0"/>
        <pc:sldMkLst>
          <pc:docMk/>
          <pc:sldMk cId="1203932121" sldId="293"/>
        </pc:sldMkLst>
      </pc:sldChg>
    </pc:docChg>
  </pc:docChgLst>
  <pc:docChgLst>
    <pc:chgData name="Julius von Dryander" userId="f300f5c52e32c87c" providerId="Windows Live" clId="Web-{76834765-1E29-4199-98FE-FBD3EBEC27C8}"/>
    <pc:docChg chg="modSld">
      <pc:chgData name="Julius von Dryander" userId="f300f5c52e32c87c" providerId="Windows Live" clId="Web-{76834765-1E29-4199-98FE-FBD3EBEC27C8}" dt="2021-12-13T10:57:49.918" v="101" actId="20577"/>
      <pc:docMkLst>
        <pc:docMk/>
      </pc:docMkLst>
      <pc:sldChg chg="modSp">
        <pc:chgData name="Julius von Dryander" userId="f300f5c52e32c87c" providerId="Windows Live" clId="Web-{76834765-1E29-4199-98FE-FBD3EBEC27C8}" dt="2021-12-13T10:57:49.918" v="101" actId="20577"/>
        <pc:sldMkLst>
          <pc:docMk/>
          <pc:sldMk cId="801734895" sldId="273"/>
        </pc:sldMkLst>
        <pc:spChg chg="mod">
          <ac:chgData name="Julius von Dryander" userId="f300f5c52e32c87c" providerId="Windows Live" clId="Web-{76834765-1E29-4199-98FE-FBD3EBEC27C8}" dt="2021-12-13T10:57:49.918" v="101" actId="20577"/>
          <ac:spMkLst>
            <pc:docMk/>
            <pc:sldMk cId="801734895" sldId="273"/>
            <ac:spMk id="9" creationId="{919F44C3-6255-4ACB-B859-88CF660F72BC}"/>
          </ac:spMkLst>
        </pc:spChg>
      </pc:sldChg>
    </pc:docChg>
  </pc:docChgLst>
  <pc:docChgLst>
    <pc:chgData name="Magnus Lütt" userId="a5ce4c93dcdbffd9" providerId="LiveId" clId="{65AADFF4-27DA-4E76-9C26-19C33C0BC84F}"/>
    <pc:docChg chg="undo custSel addSld delSld modSld modSection">
      <pc:chgData name="Magnus Lütt" userId="a5ce4c93dcdbffd9" providerId="LiveId" clId="{65AADFF4-27DA-4E76-9C26-19C33C0BC84F}" dt="2021-12-10T15:06:52.240" v="88" actId="47"/>
      <pc:docMkLst>
        <pc:docMk/>
      </pc:docMkLst>
      <pc:sldChg chg="modSp mod">
        <pc:chgData name="Magnus Lütt" userId="a5ce4c93dcdbffd9" providerId="LiveId" clId="{65AADFF4-27DA-4E76-9C26-19C33C0BC84F}" dt="2021-12-10T15:05:49.958" v="54" actId="20577"/>
        <pc:sldMkLst>
          <pc:docMk/>
          <pc:sldMk cId="0" sldId="256"/>
        </pc:sldMkLst>
        <pc:spChg chg="mod">
          <ac:chgData name="Magnus Lütt" userId="a5ce4c93dcdbffd9" providerId="LiveId" clId="{65AADFF4-27DA-4E76-9C26-19C33C0BC84F}" dt="2021-12-10T15:05:35.436" v="27" actId="20577"/>
          <ac:spMkLst>
            <pc:docMk/>
            <pc:sldMk cId="0" sldId="256"/>
            <ac:spMk id="18" creationId="{00000000-0000-0000-0000-000000000000}"/>
          </ac:spMkLst>
        </pc:spChg>
        <pc:spChg chg="mod">
          <ac:chgData name="Magnus Lütt" userId="a5ce4c93dcdbffd9" providerId="LiveId" clId="{65AADFF4-27DA-4E76-9C26-19C33C0BC84F}" dt="2021-12-10T15:05:49.958" v="54" actId="20577"/>
          <ac:spMkLst>
            <pc:docMk/>
            <pc:sldMk cId="0" sldId="256"/>
            <ac:spMk id="20" creationId="{00000000-0000-0000-0000-000000000000}"/>
          </ac:spMkLst>
        </pc:spChg>
      </pc:sldChg>
      <pc:sldChg chg="delSp modSp add del mod">
        <pc:chgData name="Magnus Lütt" userId="a5ce4c93dcdbffd9" providerId="LiveId" clId="{65AADFF4-27DA-4E76-9C26-19C33C0BC84F}" dt="2021-12-10T15:06:31.053" v="77" actId="20577"/>
        <pc:sldMkLst>
          <pc:docMk/>
          <pc:sldMk cId="801734895" sldId="273"/>
        </pc:sldMkLst>
        <pc:spChg chg="mod">
          <ac:chgData name="Magnus Lütt" userId="a5ce4c93dcdbffd9" providerId="LiveId" clId="{65AADFF4-27DA-4E76-9C26-19C33C0BC84F}" dt="2021-12-10T15:06:21.040" v="68" actId="20577"/>
          <ac:spMkLst>
            <pc:docMk/>
            <pc:sldMk cId="801734895" sldId="273"/>
            <ac:spMk id="31" creationId="{A466A1C1-91D2-4A97-9680-0017B452BB8D}"/>
          </ac:spMkLst>
        </pc:spChg>
        <pc:spChg chg="mod">
          <ac:chgData name="Magnus Lütt" userId="a5ce4c93dcdbffd9" providerId="LiveId" clId="{65AADFF4-27DA-4E76-9C26-19C33C0BC84F}" dt="2021-12-10T15:06:23.808" v="72" actId="20577"/>
          <ac:spMkLst>
            <pc:docMk/>
            <pc:sldMk cId="801734895" sldId="273"/>
            <ac:spMk id="34" creationId="{554F38FF-5779-4B65-9AB8-431BA11D243D}"/>
          </ac:spMkLst>
        </pc:spChg>
        <pc:spChg chg="mod">
          <ac:chgData name="Magnus Lütt" userId="a5ce4c93dcdbffd9" providerId="LiveId" clId="{65AADFF4-27DA-4E76-9C26-19C33C0BC84F}" dt="2021-12-10T15:06:31.053" v="77" actId="20577"/>
          <ac:spMkLst>
            <pc:docMk/>
            <pc:sldMk cId="801734895" sldId="273"/>
            <ac:spMk id="37" creationId="{DE5DFC85-9952-4D88-A075-F7B3C593C8E9}"/>
          </ac:spMkLst>
        </pc:spChg>
        <pc:graphicFrameChg chg="del">
          <ac:chgData name="Magnus Lütt" userId="a5ce4c93dcdbffd9" providerId="LiveId" clId="{65AADFF4-27DA-4E76-9C26-19C33C0BC84F}" dt="2021-12-10T15:06:17.512" v="63" actId="478"/>
          <ac:graphicFrameMkLst>
            <pc:docMk/>
            <pc:sldMk cId="801734895" sldId="273"/>
            <ac:graphicFrameMk id="36" creationId="{438B53F7-9FE0-4F63-94E3-998646FE8BC2}"/>
          </ac:graphicFrameMkLst>
        </pc:graphicFrameChg>
      </pc:sldChg>
      <pc:sldChg chg="delSp modSp del mod">
        <pc:chgData name="Magnus Lütt" userId="a5ce4c93dcdbffd9" providerId="LiveId" clId="{65AADFF4-27DA-4E76-9C26-19C33C0BC84F}" dt="2021-12-10T15:06:26.253" v="73" actId="47"/>
        <pc:sldMkLst>
          <pc:docMk/>
          <pc:sldMk cId="2591750966" sldId="285"/>
        </pc:sldMkLst>
        <pc:spChg chg="mod">
          <ac:chgData name="Magnus Lütt" userId="a5ce4c93dcdbffd9" providerId="LiveId" clId="{65AADFF4-27DA-4E76-9C26-19C33C0BC84F}" dt="2021-12-10T15:06:14.274" v="62" actId="20577"/>
          <ac:spMkLst>
            <pc:docMk/>
            <pc:sldMk cId="2591750966" sldId="285"/>
            <ac:spMk id="11" creationId="{E61044E5-AD1A-48B2-B455-EEE584597F45}"/>
          </ac:spMkLst>
        </pc:spChg>
        <pc:spChg chg="del">
          <ac:chgData name="Magnus Lütt" userId="a5ce4c93dcdbffd9" providerId="LiveId" clId="{65AADFF4-27DA-4E76-9C26-19C33C0BC84F}" dt="2021-12-10T15:05:58.019" v="55" actId="478"/>
          <ac:spMkLst>
            <pc:docMk/>
            <pc:sldMk cId="2591750966" sldId="285"/>
            <ac:spMk id="32" creationId="{8C3C7373-0E8C-4AE2-9919-028D2B48CBB2}"/>
          </ac:spMkLst>
        </pc:spChg>
      </pc:sldChg>
      <pc:sldChg chg="add del">
        <pc:chgData name="Magnus Lütt" userId="a5ce4c93dcdbffd9" providerId="LiveId" clId="{65AADFF4-27DA-4E76-9C26-19C33C0BC84F}" dt="2021-12-10T15:06:33.455" v="78" actId="47"/>
        <pc:sldMkLst>
          <pc:docMk/>
          <pc:sldMk cId="2017449985" sldId="287"/>
        </pc:sldMkLst>
      </pc:sldChg>
      <pc:sldChg chg="add del">
        <pc:chgData name="Magnus Lütt" userId="a5ce4c93dcdbffd9" providerId="LiveId" clId="{65AADFF4-27DA-4E76-9C26-19C33C0BC84F}" dt="2021-12-10T15:06:33.455" v="78" actId="47"/>
        <pc:sldMkLst>
          <pc:docMk/>
          <pc:sldMk cId="3426633103" sldId="288"/>
        </pc:sldMkLst>
      </pc:sldChg>
      <pc:sldChg chg="add del">
        <pc:chgData name="Magnus Lütt" userId="a5ce4c93dcdbffd9" providerId="LiveId" clId="{65AADFF4-27DA-4E76-9C26-19C33C0BC84F}" dt="2021-12-10T15:06:52.240" v="88" actId="47"/>
        <pc:sldMkLst>
          <pc:docMk/>
          <pc:sldMk cId="3186953294" sldId="289"/>
        </pc:sldMkLst>
      </pc:sldChg>
      <pc:sldChg chg="add del">
        <pc:chgData name="Magnus Lütt" userId="a5ce4c93dcdbffd9" providerId="LiveId" clId="{65AADFF4-27DA-4E76-9C26-19C33C0BC84F}" dt="2021-12-10T15:06:33.455" v="78" actId="47"/>
        <pc:sldMkLst>
          <pc:docMk/>
          <pc:sldMk cId="350802169" sldId="290"/>
        </pc:sldMkLst>
      </pc:sldChg>
      <pc:sldChg chg="add del">
        <pc:chgData name="Magnus Lütt" userId="a5ce4c93dcdbffd9" providerId="LiveId" clId="{65AADFF4-27DA-4E76-9C26-19C33C0BC84F}" dt="2021-12-10T15:06:33.455" v="78" actId="47"/>
        <pc:sldMkLst>
          <pc:docMk/>
          <pc:sldMk cId="2604046101" sldId="291"/>
        </pc:sldMkLst>
      </pc:sldChg>
      <pc:sldChg chg="addSp delSp modSp mod">
        <pc:chgData name="Magnus Lütt" userId="a5ce4c93dcdbffd9" providerId="LiveId" clId="{65AADFF4-27DA-4E76-9C26-19C33C0BC84F}" dt="2021-12-10T15:06:48.824" v="87"/>
        <pc:sldMkLst>
          <pc:docMk/>
          <pc:sldMk cId="1203932121" sldId="293"/>
        </pc:sldMkLst>
        <pc:spChg chg="del">
          <ac:chgData name="Magnus Lütt" userId="a5ce4c93dcdbffd9" providerId="LiveId" clId="{65AADFF4-27DA-4E76-9C26-19C33C0BC84F}" dt="2021-12-10T15:06:38.174" v="83" actId="478"/>
          <ac:spMkLst>
            <pc:docMk/>
            <pc:sldMk cId="1203932121" sldId="293"/>
            <ac:spMk id="11" creationId="{FB528C6B-E375-4083-A6BD-75EA86CFA2C1}"/>
          </ac:spMkLst>
        </pc:spChg>
        <pc:spChg chg="del">
          <ac:chgData name="Magnus Lütt" userId="a5ce4c93dcdbffd9" providerId="LiveId" clId="{65AADFF4-27DA-4E76-9C26-19C33C0BC84F}" dt="2021-12-10T15:06:35.809" v="79" actId="478"/>
          <ac:spMkLst>
            <pc:docMk/>
            <pc:sldMk cId="1203932121" sldId="293"/>
            <ac:spMk id="13" creationId="{22FB99B1-2F9F-453A-8041-DC1FC76D5B17}"/>
          </ac:spMkLst>
        </pc:spChg>
        <pc:spChg chg="del">
          <ac:chgData name="Magnus Lütt" userId="a5ce4c93dcdbffd9" providerId="LiveId" clId="{65AADFF4-27DA-4E76-9C26-19C33C0BC84F}" dt="2021-12-10T15:06:36.964" v="81" actId="478"/>
          <ac:spMkLst>
            <pc:docMk/>
            <pc:sldMk cId="1203932121" sldId="293"/>
            <ac:spMk id="14" creationId="{32D7C16F-9C7A-468A-A9DD-2DD3AD9B157B}"/>
          </ac:spMkLst>
        </pc:spChg>
        <pc:spChg chg="del">
          <ac:chgData name="Magnus Lütt" userId="a5ce4c93dcdbffd9" providerId="LiveId" clId="{65AADFF4-27DA-4E76-9C26-19C33C0BC84F}" dt="2021-12-10T15:06:44.320" v="85" actId="478"/>
          <ac:spMkLst>
            <pc:docMk/>
            <pc:sldMk cId="1203932121" sldId="293"/>
            <ac:spMk id="17" creationId="{797B4FDB-1AB6-4F19-9B53-F4A8A1D2C610}"/>
          </ac:spMkLst>
        </pc:spChg>
        <pc:spChg chg="add del mod">
          <ac:chgData name="Magnus Lütt" userId="a5ce4c93dcdbffd9" providerId="LiveId" clId="{65AADFF4-27DA-4E76-9C26-19C33C0BC84F}" dt="2021-12-10T15:06:48.303" v="86" actId="478"/>
          <ac:spMkLst>
            <pc:docMk/>
            <pc:sldMk cId="1203932121" sldId="293"/>
            <ac:spMk id="19" creationId="{B8438F6D-F2B9-49A3-9B87-C2C634B7CFA0}"/>
          </ac:spMkLst>
        </pc:spChg>
        <pc:spChg chg="add mod">
          <ac:chgData name="Magnus Lütt" userId="a5ce4c93dcdbffd9" providerId="LiveId" clId="{65AADFF4-27DA-4E76-9C26-19C33C0BC84F}" dt="2021-12-10T15:06:48.824" v="87"/>
          <ac:spMkLst>
            <pc:docMk/>
            <pc:sldMk cId="1203932121" sldId="293"/>
            <ac:spMk id="20" creationId="{F4C7040B-1F71-4A80-A149-3A194D521A5D}"/>
          </ac:spMkLst>
        </pc:spChg>
        <pc:spChg chg="del">
          <ac:chgData name="Magnus Lütt" userId="a5ce4c93dcdbffd9" providerId="LiveId" clId="{65AADFF4-27DA-4E76-9C26-19C33C0BC84F}" dt="2021-12-10T15:06:37.565" v="82" actId="478"/>
          <ac:spMkLst>
            <pc:docMk/>
            <pc:sldMk cId="1203932121" sldId="293"/>
            <ac:spMk id="21" creationId="{B2BA1760-6A64-47B2-8BB3-F326CBA0F0CA}"/>
          </ac:spMkLst>
        </pc:spChg>
        <pc:spChg chg="del">
          <ac:chgData name="Magnus Lütt" userId="a5ce4c93dcdbffd9" providerId="LiveId" clId="{65AADFF4-27DA-4E76-9C26-19C33C0BC84F}" dt="2021-12-10T15:06:36.356" v="80" actId="478"/>
          <ac:spMkLst>
            <pc:docMk/>
            <pc:sldMk cId="1203932121" sldId="293"/>
            <ac:spMk id="23" creationId="{D778740E-EFE8-4E4A-A591-1AD375840DFA}"/>
          </ac:spMkLst>
        </pc:spChg>
      </pc:sldChg>
      <pc:sldChg chg="add del">
        <pc:chgData name="Magnus Lütt" userId="a5ce4c93dcdbffd9" providerId="LiveId" clId="{65AADFF4-27DA-4E76-9C26-19C33C0BC84F}" dt="2021-12-10T15:06:33.455" v="78" actId="47"/>
        <pc:sldMkLst>
          <pc:docMk/>
          <pc:sldMk cId="4166229546" sldId="294"/>
        </pc:sldMkLst>
      </pc:sldChg>
    </pc:docChg>
  </pc:docChgLst>
  <pc:docChgLst>
    <pc:chgData name="Guest User" providerId="Windows Live" clId="Web-{2BBE031E-80DA-4806-ABB5-5E90FFBF3A00}"/>
    <pc:docChg chg="addSld modSld modSection">
      <pc:chgData name="Guest User" userId="" providerId="Windows Live" clId="Web-{2BBE031E-80DA-4806-ABB5-5E90FFBF3A00}" dt="2021-12-10T15:12:21.309" v="4"/>
      <pc:docMkLst>
        <pc:docMk/>
      </pc:docMkLst>
      <pc:sldChg chg="add">
        <pc:chgData name="Guest User" userId="" providerId="Windows Live" clId="Web-{2BBE031E-80DA-4806-ABB5-5E90FFBF3A00}" dt="2021-12-10T15:12:04.074" v="0"/>
        <pc:sldMkLst>
          <pc:docMk/>
          <pc:sldMk cId="0" sldId="256"/>
        </pc:sldMkLst>
      </pc:sldChg>
      <pc:sldChg chg="add">
        <pc:chgData name="Guest User" userId="" providerId="Windows Live" clId="Web-{2BBE031E-80DA-4806-ABB5-5E90FFBF3A00}" dt="2021-12-10T15:12:04.277" v="1"/>
        <pc:sldMkLst>
          <pc:docMk/>
          <pc:sldMk cId="801734895" sldId="273"/>
        </pc:sldMkLst>
      </pc:sldChg>
      <pc:sldChg chg="addSp delSp modSp add">
        <pc:chgData name="Guest User" userId="" providerId="Windows Live" clId="Web-{2BBE031E-80DA-4806-ABB5-5E90FFBF3A00}" dt="2021-12-10T15:12:21.309" v="4"/>
        <pc:sldMkLst>
          <pc:docMk/>
          <pc:sldMk cId="1203932121" sldId="293"/>
        </pc:sldMkLst>
        <pc:picChg chg="add del mod">
          <ac:chgData name="Guest User" userId="" providerId="Windows Live" clId="Web-{2BBE031E-80DA-4806-ABB5-5E90FFBF3A00}" dt="2021-12-10T15:12:21.309" v="4"/>
          <ac:picMkLst>
            <pc:docMk/>
            <pc:sldMk cId="1203932121" sldId="293"/>
            <ac:picMk id="2" creationId="{47F63E96-C183-41E7-B629-562D44B7CD9F}"/>
          </ac:picMkLst>
        </pc:picChg>
      </pc:sldChg>
    </pc:docChg>
  </pc:docChgLst>
  <pc:docChgLst>
    <pc:chgData name="Guest User" providerId="Windows Live" clId="Web-{ABCD8720-87BF-4BB5-B498-642B7F10BF74}"/>
    <pc:docChg chg="modSld">
      <pc:chgData name="Guest User" userId="" providerId="Windows Live" clId="Web-{ABCD8720-87BF-4BB5-B498-642B7F10BF74}" dt="2021-12-12T15:05:47.259" v="50" actId="20577"/>
      <pc:docMkLst>
        <pc:docMk/>
      </pc:docMkLst>
      <pc:sldChg chg="modSp">
        <pc:chgData name="Guest User" userId="" providerId="Windows Live" clId="Web-{ABCD8720-87BF-4BB5-B498-642B7F10BF74}" dt="2021-12-12T13:46:01.235" v="45" actId="20577"/>
        <pc:sldMkLst>
          <pc:docMk/>
          <pc:sldMk cId="801734895" sldId="273"/>
        </pc:sldMkLst>
        <pc:spChg chg="mod">
          <ac:chgData name="Guest User" userId="" providerId="Windows Live" clId="Web-{ABCD8720-87BF-4BB5-B498-642B7F10BF74}" dt="2021-12-12T13:46:01.235" v="45" actId="20577"/>
          <ac:spMkLst>
            <pc:docMk/>
            <pc:sldMk cId="801734895" sldId="273"/>
            <ac:spMk id="9" creationId="{919F44C3-6255-4ACB-B859-88CF660F72BC}"/>
          </ac:spMkLst>
        </pc:spChg>
      </pc:sldChg>
      <pc:sldChg chg="modSp">
        <pc:chgData name="Guest User" userId="" providerId="Windows Live" clId="Web-{ABCD8720-87BF-4BB5-B498-642B7F10BF74}" dt="2021-12-12T15:05:47.259" v="50" actId="20577"/>
        <pc:sldMkLst>
          <pc:docMk/>
          <pc:sldMk cId="2033624841" sldId="294"/>
        </pc:sldMkLst>
        <pc:spChg chg="mod">
          <ac:chgData name="Guest User" userId="" providerId="Windows Live" clId="Web-{ABCD8720-87BF-4BB5-B498-642B7F10BF74}" dt="2021-12-12T15:05:18.306" v="48" actId="20577"/>
          <ac:spMkLst>
            <pc:docMk/>
            <pc:sldMk cId="2033624841" sldId="294"/>
            <ac:spMk id="36" creationId="{8F2709EB-F20D-48D4-96DA-AC861F4F9AC6}"/>
          </ac:spMkLst>
        </pc:spChg>
        <pc:spChg chg="mod">
          <ac:chgData name="Guest User" userId="" providerId="Windows Live" clId="Web-{ABCD8720-87BF-4BB5-B498-642B7F10BF74}" dt="2021-12-12T15:05:47.259" v="50" actId="20577"/>
          <ac:spMkLst>
            <pc:docMk/>
            <pc:sldMk cId="2033624841" sldId="294"/>
            <ac:spMk id="41" creationId="{99CE9F68-7729-473B-BB10-099A39D6770A}"/>
          </ac:spMkLst>
        </pc:spChg>
      </pc:sldChg>
    </pc:docChg>
  </pc:docChgLst>
  <pc:docChgLst>
    <pc:chgData name="Magnus Lütt" userId="a5ce4c93dcdbffd9" providerId="LiveId" clId="{9C2C8241-FBD3-42CB-A7CA-86B0343B6838}"/>
    <pc:docChg chg="undo redo custSel addSld delSld modSld sldOrd addSection modSection">
      <pc:chgData name="Magnus Lütt" userId="a5ce4c93dcdbffd9" providerId="LiveId" clId="{9C2C8241-FBD3-42CB-A7CA-86B0343B6838}" dt="2021-12-09T20:57:16.078" v="8552"/>
      <pc:docMkLst>
        <pc:docMk/>
      </pc:docMkLst>
      <pc:sldChg chg="addSp modSp mod">
        <pc:chgData name="Magnus Lütt" userId="a5ce4c93dcdbffd9" providerId="LiveId" clId="{9C2C8241-FBD3-42CB-A7CA-86B0343B6838}" dt="2021-12-09T11:11:58.716" v="2343"/>
        <pc:sldMkLst>
          <pc:docMk/>
          <pc:sldMk cId="0" sldId="256"/>
        </pc:sldMkLst>
        <pc:spChg chg="mod">
          <ac:chgData name="Magnus Lütt" userId="a5ce4c93dcdbffd9" providerId="LiveId" clId="{9C2C8241-FBD3-42CB-A7CA-86B0343B6838}" dt="2021-12-09T10:10:49.444" v="548" actId="1076"/>
          <ac:spMkLst>
            <pc:docMk/>
            <pc:sldMk cId="0" sldId="256"/>
            <ac:spMk id="8" creationId="{00000000-0000-0000-0000-000000000000}"/>
          </ac:spMkLst>
        </pc:spChg>
        <pc:spChg chg="mod">
          <ac:chgData name="Magnus Lütt" userId="a5ce4c93dcdbffd9" providerId="LiveId" clId="{9C2C8241-FBD3-42CB-A7CA-86B0343B6838}" dt="2021-12-09T11:10:17.500" v="2325" actId="20577"/>
          <ac:spMkLst>
            <pc:docMk/>
            <pc:sldMk cId="0" sldId="256"/>
            <ac:spMk id="18" creationId="{00000000-0000-0000-0000-000000000000}"/>
          </ac:spMkLst>
        </pc:spChg>
        <pc:picChg chg="add mod">
          <ac:chgData name="Magnus Lütt" userId="a5ce4c93dcdbffd9" providerId="LiveId" clId="{9C2C8241-FBD3-42CB-A7CA-86B0343B6838}" dt="2021-12-09T11:11:58.716" v="2343"/>
          <ac:picMkLst>
            <pc:docMk/>
            <pc:sldMk cId="0" sldId="256"/>
            <ac:picMk id="9" creationId="{C42A7096-0EAD-4B12-ACB4-39AB9DADDA1F}"/>
          </ac:picMkLst>
        </pc:picChg>
      </pc:sldChg>
      <pc:sldChg chg="del">
        <pc:chgData name="Magnus Lütt" userId="a5ce4c93dcdbffd9" providerId="LiveId" clId="{9C2C8241-FBD3-42CB-A7CA-86B0343B6838}" dt="2021-12-09T16:04:57.441" v="7725" actId="47"/>
        <pc:sldMkLst>
          <pc:docMk/>
          <pc:sldMk cId="181073336" sldId="272"/>
        </pc:sldMkLst>
      </pc:sldChg>
      <pc:sldChg chg="addSp delSp modSp mod ord">
        <pc:chgData name="Magnus Lütt" userId="a5ce4c93dcdbffd9" providerId="LiveId" clId="{9C2C8241-FBD3-42CB-A7CA-86B0343B6838}" dt="2021-12-09T15:30:46.486" v="6968" actId="20577"/>
        <pc:sldMkLst>
          <pc:docMk/>
          <pc:sldMk cId="801734895" sldId="273"/>
        </pc:sldMkLst>
        <pc:spChg chg="mod">
          <ac:chgData name="Magnus Lütt" userId="a5ce4c93dcdbffd9" providerId="LiveId" clId="{9C2C8241-FBD3-42CB-A7CA-86B0343B6838}" dt="2021-12-09T10:48:13.438" v="1260" actId="20577"/>
          <ac:spMkLst>
            <pc:docMk/>
            <pc:sldMk cId="801734895" sldId="273"/>
            <ac:spMk id="4" creationId="{00000000-0000-0000-0000-000000000000}"/>
          </ac:spMkLst>
        </pc:spChg>
        <pc:spChg chg="del">
          <ac:chgData name="Magnus Lütt" userId="a5ce4c93dcdbffd9" providerId="LiveId" clId="{9C2C8241-FBD3-42CB-A7CA-86B0343B6838}" dt="2021-12-09T10:50:09.005" v="1274" actId="478"/>
          <ac:spMkLst>
            <pc:docMk/>
            <pc:sldMk cId="801734895" sldId="273"/>
            <ac:spMk id="7" creationId="{2B7D2D36-6027-490B-ABD2-40BE8A4464D9}"/>
          </ac:spMkLst>
        </pc:spChg>
        <pc:spChg chg="del">
          <ac:chgData name="Magnus Lütt" userId="a5ce4c93dcdbffd9" providerId="LiveId" clId="{9C2C8241-FBD3-42CB-A7CA-86B0343B6838}" dt="2021-12-09T11:10:29.304" v="2332" actId="478"/>
          <ac:spMkLst>
            <pc:docMk/>
            <pc:sldMk cId="801734895" sldId="273"/>
            <ac:spMk id="11" creationId="{E61044E5-AD1A-48B2-B455-EEE584597F45}"/>
          </ac:spMkLst>
        </pc:spChg>
        <pc:spChg chg="mod">
          <ac:chgData name="Magnus Lütt" userId="a5ce4c93dcdbffd9" providerId="LiveId" clId="{9C2C8241-FBD3-42CB-A7CA-86B0343B6838}" dt="2021-12-09T10:50:06.722" v="1273" actId="1076"/>
          <ac:spMkLst>
            <pc:docMk/>
            <pc:sldMk cId="801734895" sldId="273"/>
            <ac:spMk id="20" creationId="{914A22B2-49AF-48AE-A767-9D75030DD0A8}"/>
          </ac:spMkLst>
        </pc:spChg>
        <pc:spChg chg="add mod">
          <ac:chgData name="Magnus Lütt" userId="a5ce4c93dcdbffd9" providerId="LiveId" clId="{9C2C8241-FBD3-42CB-A7CA-86B0343B6838}" dt="2021-12-09T15:30:46.486" v="6968" actId="20577"/>
          <ac:spMkLst>
            <pc:docMk/>
            <pc:sldMk cId="801734895" sldId="273"/>
            <ac:spMk id="31" creationId="{A466A1C1-91D2-4A97-9680-0017B452BB8D}"/>
          </ac:spMkLst>
        </pc:spChg>
        <pc:spChg chg="mod">
          <ac:chgData name="Magnus Lütt" userId="a5ce4c93dcdbffd9" providerId="LiveId" clId="{9C2C8241-FBD3-42CB-A7CA-86B0343B6838}" dt="2021-12-09T14:45:41.022" v="6526" actId="20577"/>
          <ac:spMkLst>
            <pc:docMk/>
            <pc:sldMk cId="801734895" sldId="273"/>
            <ac:spMk id="34" creationId="{554F38FF-5779-4B65-9AB8-431BA11D243D}"/>
          </ac:spMkLst>
        </pc:spChg>
        <pc:spChg chg="add mod">
          <ac:chgData name="Magnus Lütt" userId="a5ce4c93dcdbffd9" providerId="LiveId" clId="{9C2C8241-FBD3-42CB-A7CA-86B0343B6838}" dt="2021-12-09T11:10:29.549" v="2333"/>
          <ac:spMkLst>
            <pc:docMk/>
            <pc:sldMk cId="801734895" sldId="273"/>
            <ac:spMk id="37" creationId="{DE5DFC85-9952-4D88-A075-F7B3C593C8E9}"/>
          </ac:spMkLst>
        </pc:spChg>
        <pc:spChg chg="del">
          <ac:chgData name="Magnus Lütt" userId="a5ce4c93dcdbffd9" providerId="LiveId" clId="{9C2C8241-FBD3-42CB-A7CA-86B0343B6838}" dt="2021-12-09T10:50:09.005" v="1274" actId="478"/>
          <ac:spMkLst>
            <pc:docMk/>
            <pc:sldMk cId="801734895" sldId="273"/>
            <ac:spMk id="44" creationId="{CF48B5AE-688D-4787-9B28-C44DE7E4CD3D}"/>
          </ac:spMkLst>
        </pc:spChg>
        <pc:grpChg chg="del">
          <ac:chgData name="Magnus Lütt" userId="a5ce4c93dcdbffd9" providerId="LiveId" clId="{9C2C8241-FBD3-42CB-A7CA-86B0343B6838}" dt="2021-12-09T10:50:09.005" v="1274" actId="478"/>
          <ac:grpSpMkLst>
            <pc:docMk/>
            <pc:sldMk cId="801734895" sldId="273"/>
            <ac:grpSpMk id="6" creationId="{EE584B48-6C46-42F7-85DF-63291DCE31D0}"/>
          </ac:grpSpMkLst>
        </pc:grpChg>
        <pc:grpChg chg="del">
          <ac:chgData name="Magnus Lütt" userId="a5ce4c93dcdbffd9" providerId="LiveId" clId="{9C2C8241-FBD3-42CB-A7CA-86B0343B6838}" dt="2021-12-09T10:48:45.558" v="1264" actId="478"/>
          <ac:grpSpMkLst>
            <pc:docMk/>
            <pc:sldMk cId="801734895" sldId="273"/>
            <ac:grpSpMk id="17" creationId="{E563B739-0BDA-46C1-873E-CCC87C52CEBC}"/>
          </ac:grpSpMkLst>
        </pc:grpChg>
        <pc:grpChg chg="del">
          <ac:chgData name="Magnus Lütt" userId="a5ce4c93dcdbffd9" providerId="LiveId" clId="{9C2C8241-FBD3-42CB-A7CA-86B0343B6838}" dt="2021-12-09T10:50:09.005" v="1274" actId="478"/>
          <ac:grpSpMkLst>
            <pc:docMk/>
            <pc:sldMk cId="801734895" sldId="273"/>
            <ac:grpSpMk id="39" creationId="{BCC2D97E-CE93-4EC2-8919-C7DE23FB2536}"/>
          </ac:grpSpMkLst>
        </pc:grpChg>
        <pc:graphicFrameChg chg="add mod">
          <ac:chgData name="Magnus Lütt" userId="a5ce4c93dcdbffd9" providerId="LiveId" clId="{9C2C8241-FBD3-42CB-A7CA-86B0343B6838}" dt="2021-12-09T10:50:12.864" v="1278"/>
          <ac:graphicFrameMkLst>
            <pc:docMk/>
            <pc:sldMk cId="801734895" sldId="273"/>
            <ac:graphicFrameMk id="32" creationId="{438B53F7-9FE0-4F63-94E3-998646FE8BC2}"/>
          </ac:graphicFrameMkLst>
        </pc:graphicFrameChg>
        <pc:graphicFrameChg chg="add mod">
          <ac:chgData name="Magnus Lütt" userId="a5ce4c93dcdbffd9" providerId="LiveId" clId="{9C2C8241-FBD3-42CB-A7CA-86B0343B6838}" dt="2021-12-09T10:50:32.175" v="1294"/>
          <ac:graphicFrameMkLst>
            <pc:docMk/>
            <pc:sldMk cId="801734895" sldId="273"/>
            <ac:graphicFrameMk id="35" creationId="{438B53F7-9FE0-4F63-94E3-998646FE8BC2}"/>
          </ac:graphicFrameMkLst>
        </pc:graphicFrameChg>
        <pc:graphicFrameChg chg="add mod">
          <ac:chgData name="Magnus Lütt" userId="a5ce4c93dcdbffd9" providerId="LiveId" clId="{9C2C8241-FBD3-42CB-A7CA-86B0343B6838}" dt="2021-12-09T15:15:10.360" v="6621" actId="20577"/>
          <ac:graphicFrameMkLst>
            <pc:docMk/>
            <pc:sldMk cId="801734895" sldId="273"/>
            <ac:graphicFrameMk id="36" creationId="{438B53F7-9FE0-4F63-94E3-998646FE8BC2}"/>
          </ac:graphicFrameMkLst>
        </pc:graphicFrameChg>
        <pc:picChg chg="add del mod">
          <ac:chgData name="Magnus Lütt" userId="a5ce4c93dcdbffd9" providerId="LiveId" clId="{9C2C8241-FBD3-42CB-A7CA-86B0343B6838}" dt="2021-12-09T10:50:26.802" v="1290" actId="478"/>
          <ac:picMkLst>
            <pc:docMk/>
            <pc:sldMk cId="801734895" sldId="273"/>
            <ac:picMk id="2" creationId="{A26563B1-E546-4164-B2E6-EF5DE0199F24}"/>
          </ac:picMkLst>
        </pc:picChg>
        <pc:picChg chg="add del">
          <ac:chgData name="Magnus Lütt" userId="a5ce4c93dcdbffd9" providerId="LiveId" clId="{9C2C8241-FBD3-42CB-A7CA-86B0343B6838}" dt="2021-12-09T10:50:09.005" v="1274" actId="478"/>
          <ac:picMkLst>
            <pc:docMk/>
            <pc:sldMk cId="801734895" sldId="273"/>
            <ac:picMk id="3" creationId="{909D35D8-05B8-49A1-AD37-AB771B7CF6B6}"/>
          </ac:picMkLst>
        </pc:picChg>
        <pc:picChg chg="add del">
          <ac:chgData name="Magnus Lütt" userId="a5ce4c93dcdbffd9" providerId="LiveId" clId="{9C2C8241-FBD3-42CB-A7CA-86B0343B6838}" dt="2021-12-09T10:50:09.005" v="1274" actId="478"/>
          <ac:picMkLst>
            <pc:docMk/>
            <pc:sldMk cId="801734895" sldId="273"/>
            <ac:picMk id="5" creationId="{AAEBF6BC-C458-4EB7-BE6D-1B191B90136B}"/>
          </ac:picMkLst>
        </pc:picChg>
        <pc:picChg chg="add mod">
          <ac:chgData name="Magnus Lütt" userId="a5ce4c93dcdbffd9" providerId="LiveId" clId="{9C2C8241-FBD3-42CB-A7CA-86B0343B6838}" dt="2021-12-09T11:12:01.301" v="2344"/>
          <ac:picMkLst>
            <pc:docMk/>
            <pc:sldMk cId="801734895" sldId="273"/>
            <ac:picMk id="38" creationId="{1B6B5432-64D8-472A-ABCD-1E30C2F30DEA}"/>
          </ac:picMkLst>
        </pc:picChg>
      </pc:sldChg>
      <pc:sldChg chg="del">
        <pc:chgData name="Magnus Lütt" userId="a5ce4c93dcdbffd9" providerId="LiveId" clId="{9C2C8241-FBD3-42CB-A7CA-86B0343B6838}" dt="2021-12-09T16:04:57.441" v="7725" actId="47"/>
        <pc:sldMkLst>
          <pc:docMk/>
          <pc:sldMk cId="3351464345" sldId="277"/>
        </pc:sldMkLst>
      </pc:sldChg>
      <pc:sldChg chg="del">
        <pc:chgData name="Magnus Lütt" userId="a5ce4c93dcdbffd9" providerId="LiveId" clId="{9C2C8241-FBD3-42CB-A7CA-86B0343B6838}" dt="2021-12-09T16:04:57.441" v="7725" actId="47"/>
        <pc:sldMkLst>
          <pc:docMk/>
          <pc:sldMk cId="117940166" sldId="278"/>
        </pc:sldMkLst>
      </pc:sldChg>
      <pc:sldChg chg="del">
        <pc:chgData name="Magnus Lütt" userId="a5ce4c93dcdbffd9" providerId="LiveId" clId="{9C2C8241-FBD3-42CB-A7CA-86B0343B6838}" dt="2021-12-09T16:04:57.441" v="7725" actId="47"/>
        <pc:sldMkLst>
          <pc:docMk/>
          <pc:sldMk cId="1595208941" sldId="279"/>
        </pc:sldMkLst>
      </pc:sldChg>
      <pc:sldChg chg="addSp delSp modSp new del mod modNotesTx">
        <pc:chgData name="Magnus Lütt" userId="a5ce4c93dcdbffd9" providerId="LiveId" clId="{9C2C8241-FBD3-42CB-A7CA-86B0343B6838}" dt="2021-12-09T16:05:09.550" v="7728" actId="2696"/>
        <pc:sldMkLst>
          <pc:docMk/>
          <pc:sldMk cId="2670551155" sldId="280"/>
        </pc:sldMkLst>
        <pc:spChg chg="mod">
          <ac:chgData name="Magnus Lütt" userId="a5ce4c93dcdbffd9" providerId="LiveId" clId="{9C2C8241-FBD3-42CB-A7CA-86B0343B6838}" dt="2021-12-09T08:49:38.802" v="259" actId="1076"/>
          <ac:spMkLst>
            <pc:docMk/>
            <pc:sldMk cId="2670551155" sldId="280"/>
            <ac:spMk id="2" creationId="{27CA62A1-41FC-483B-AF84-BC2A6EDADF41}"/>
          </ac:spMkLst>
        </pc:spChg>
        <pc:spChg chg="del">
          <ac:chgData name="Magnus Lütt" userId="a5ce4c93dcdbffd9" providerId="LiveId" clId="{9C2C8241-FBD3-42CB-A7CA-86B0343B6838}" dt="2021-12-09T08:39:16.384" v="6" actId="478"/>
          <ac:spMkLst>
            <pc:docMk/>
            <pc:sldMk cId="2670551155" sldId="280"/>
            <ac:spMk id="3" creationId="{B828F8C0-91D8-44E9-983C-C47EDD969D92}"/>
          </ac:spMkLst>
        </pc:spChg>
        <pc:spChg chg="add mod">
          <ac:chgData name="Magnus Lütt" userId="a5ce4c93dcdbffd9" providerId="LiveId" clId="{9C2C8241-FBD3-42CB-A7CA-86B0343B6838}" dt="2021-12-09T09:51:10.643" v="521" actId="20577"/>
          <ac:spMkLst>
            <pc:docMk/>
            <pc:sldMk cId="2670551155" sldId="280"/>
            <ac:spMk id="8" creationId="{AB3C40B8-5636-48F4-AA8B-003C0888D495}"/>
          </ac:spMkLst>
        </pc:spChg>
        <pc:spChg chg="add mod">
          <ac:chgData name="Magnus Lütt" userId="a5ce4c93dcdbffd9" providerId="LiveId" clId="{9C2C8241-FBD3-42CB-A7CA-86B0343B6838}" dt="2021-12-09T09:51:13.651" v="522" actId="1076"/>
          <ac:spMkLst>
            <pc:docMk/>
            <pc:sldMk cId="2670551155" sldId="280"/>
            <ac:spMk id="9" creationId="{4A29A573-05AF-4AAC-8BB4-0F59D4CD4F0B}"/>
          </ac:spMkLst>
        </pc:spChg>
        <pc:picChg chg="add mod">
          <ac:chgData name="Magnus Lütt" userId="a5ce4c93dcdbffd9" providerId="LiveId" clId="{9C2C8241-FBD3-42CB-A7CA-86B0343B6838}" dt="2021-12-09T10:48:41.120" v="1263" actId="1076"/>
          <ac:picMkLst>
            <pc:docMk/>
            <pc:sldMk cId="2670551155" sldId="280"/>
            <ac:picMk id="7" creationId="{4AF444C5-8B7A-4C70-8FB8-6271391EE60A}"/>
          </ac:picMkLst>
        </pc:picChg>
        <pc:picChg chg="add mod">
          <ac:chgData name="Magnus Lütt" userId="a5ce4c93dcdbffd9" providerId="LiveId" clId="{9C2C8241-FBD3-42CB-A7CA-86B0343B6838}" dt="2021-12-09T09:01:27.278" v="414" actId="1076"/>
          <ac:picMkLst>
            <pc:docMk/>
            <pc:sldMk cId="2670551155" sldId="280"/>
            <ac:picMk id="11" creationId="{AE0A17AC-555D-4497-943B-5B9AF80180F1}"/>
          </ac:picMkLst>
        </pc:picChg>
        <pc:picChg chg="add mod">
          <ac:chgData name="Magnus Lütt" userId="a5ce4c93dcdbffd9" providerId="LiveId" clId="{9C2C8241-FBD3-42CB-A7CA-86B0343B6838}" dt="2021-12-09T10:48:27.662" v="1262" actId="1076"/>
          <ac:picMkLst>
            <pc:docMk/>
            <pc:sldMk cId="2670551155" sldId="280"/>
            <ac:picMk id="13" creationId="{CCD4CA4A-27B4-4A48-9B83-99B29DB0165C}"/>
          </ac:picMkLst>
        </pc:picChg>
        <pc:picChg chg="add mod">
          <ac:chgData name="Magnus Lütt" userId="a5ce4c93dcdbffd9" providerId="LiveId" clId="{9C2C8241-FBD3-42CB-A7CA-86B0343B6838}" dt="2021-12-09T11:12:03.632" v="2346"/>
          <ac:picMkLst>
            <pc:docMk/>
            <pc:sldMk cId="2670551155" sldId="280"/>
            <ac:picMk id="14" creationId="{1721FAAB-FDFB-4397-8FC7-CC7128BAFCDC}"/>
          </ac:picMkLst>
        </pc:picChg>
      </pc:sldChg>
      <pc:sldChg chg="modSp new del mod">
        <pc:chgData name="Magnus Lütt" userId="a5ce4c93dcdbffd9" providerId="LiveId" clId="{9C2C8241-FBD3-42CB-A7CA-86B0343B6838}" dt="2021-12-09T16:05:02.940" v="7727" actId="47"/>
        <pc:sldMkLst>
          <pc:docMk/>
          <pc:sldMk cId="3601577701" sldId="281"/>
        </pc:sldMkLst>
        <pc:spChg chg="mod">
          <ac:chgData name="Magnus Lütt" userId="a5ce4c93dcdbffd9" providerId="LiveId" clId="{9C2C8241-FBD3-42CB-A7CA-86B0343B6838}" dt="2021-12-09T09:42:58.314" v="434" actId="20577"/>
          <ac:spMkLst>
            <pc:docMk/>
            <pc:sldMk cId="3601577701" sldId="281"/>
            <ac:spMk id="2" creationId="{B8AAB330-43D6-4BC3-902A-D73C00842D13}"/>
          </ac:spMkLst>
        </pc:spChg>
      </pc:sldChg>
      <pc:sldChg chg="addSp modSp add del mod modNotesTx">
        <pc:chgData name="Magnus Lütt" userId="a5ce4c93dcdbffd9" providerId="LiveId" clId="{9C2C8241-FBD3-42CB-A7CA-86B0343B6838}" dt="2021-12-09T16:05:09.550" v="7728" actId="2696"/>
        <pc:sldMkLst>
          <pc:docMk/>
          <pc:sldMk cId="288182953" sldId="282"/>
        </pc:sldMkLst>
        <pc:spChg chg="mod">
          <ac:chgData name="Magnus Lütt" userId="a5ce4c93dcdbffd9" providerId="LiveId" clId="{9C2C8241-FBD3-42CB-A7CA-86B0343B6838}" dt="2021-12-09T09:43:49.761" v="473" actId="20577"/>
          <ac:spMkLst>
            <pc:docMk/>
            <pc:sldMk cId="288182953" sldId="282"/>
            <ac:spMk id="2" creationId="{B8AAB330-43D6-4BC3-902A-D73C00842D13}"/>
          </ac:spMkLst>
        </pc:spChg>
        <pc:spChg chg="add mod">
          <ac:chgData name="Magnus Lütt" userId="a5ce4c93dcdbffd9" providerId="LiveId" clId="{9C2C8241-FBD3-42CB-A7CA-86B0343B6838}" dt="2021-12-09T11:20:39.610" v="2701" actId="21"/>
          <ac:spMkLst>
            <pc:docMk/>
            <pc:sldMk cId="288182953" sldId="282"/>
            <ac:spMk id="9" creationId="{2D355EAB-1D77-4068-8CFB-622A51A17BA6}"/>
          </ac:spMkLst>
        </pc:spChg>
        <pc:spChg chg="add mod">
          <ac:chgData name="Magnus Lütt" userId="a5ce4c93dcdbffd9" providerId="LiveId" clId="{9C2C8241-FBD3-42CB-A7CA-86B0343B6838}" dt="2021-12-09T11:20:44.581" v="2703" actId="1076"/>
          <ac:spMkLst>
            <pc:docMk/>
            <pc:sldMk cId="288182953" sldId="282"/>
            <ac:spMk id="10" creationId="{B4FDA64B-CAB7-4ABE-B1C0-EECCA4C0A7AB}"/>
          </ac:spMkLst>
        </pc:spChg>
        <pc:picChg chg="add mod">
          <ac:chgData name="Magnus Lütt" userId="a5ce4c93dcdbffd9" providerId="LiveId" clId="{9C2C8241-FBD3-42CB-A7CA-86B0343B6838}" dt="2021-12-09T09:52:48.463" v="525" actId="1076"/>
          <ac:picMkLst>
            <pc:docMk/>
            <pc:sldMk cId="288182953" sldId="282"/>
            <ac:picMk id="7" creationId="{2BB4AD75-D1A4-45F7-9AAD-B1A01D0631BF}"/>
          </ac:picMkLst>
        </pc:picChg>
      </pc:sldChg>
      <pc:sldChg chg="addSp delSp modSp new del mod modNotesTx">
        <pc:chgData name="Magnus Lütt" userId="a5ce4c93dcdbffd9" providerId="LiveId" clId="{9C2C8241-FBD3-42CB-A7CA-86B0343B6838}" dt="2021-12-09T16:05:09.550" v="7728" actId="2696"/>
        <pc:sldMkLst>
          <pc:docMk/>
          <pc:sldMk cId="4194961205" sldId="283"/>
        </pc:sldMkLst>
        <pc:spChg chg="mod">
          <ac:chgData name="Magnus Lütt" userId="a5ce4c93dcdbffd9" providerId="LiveId" clId="{9C2C8241-FBD3-42CB-A7CA-86B0343B6838}" dt="2021-12-09T09:57:43.066" v="546" actId="20577"/>
          <ac:spMkLst>
            <pc:docMk/>
            <pc:sldMk cId="4194961205" sldId="283"/>
            <ac:spMk id="2" creationId="{487E5CAB-0A9B-4155-B192-79DB66FF71B6}"/>
          </ac:spMkLst>
        </pc:spChg>
        <pc:spChg chg="del">
          <ac:chgData name="Magnus Lütt" userId="a5ce4c93dcdbffd9" providerId="LiveId" clId="{9C2C8241-FBD3-42CB-A7CA-86B0343B6838}" dt="2021-12-09T09:57:41.845" v="542" actId="478"/>
          <ac:spMkLst>
            <pc:docMk/>
            <pc:sldMk cId="4194961205" sldId="283"/>
            <ac:spMk id="3" creationId="{5C55EB8A-05CA-4F56-B4BC-81C7C33A1123}"/>
          </ac:spMkLst>
        </pc:spChg>
        <pc:spChg chg="mod">
          <ac:chgData name="Magnus Lütt" userId="a5ce4c93dcdbffd9" providerId="LiveId" clId="{9C2C8241-FBD3-42CB-A7CA-86B0343B6838}" dt="2021-12-09T10:36:26.725" v="897" actId="1076"/>
          <ac:spMkLst>
            <pc:docMk/>
            <pc:sldMk cId="4194961205" sldId="283"/>
            <ac:spMk id="4" creationId="{66B1D138-E622-4E59-8719-519FDD821A9D}"/>
          </ac:spMkLst>
        </pc:spChg>
        <pc:spChg chg="add del mod">
          <ac:chgData name="Magnus Lütt" userId="a5ce4c93dcdbffd9" providerId="LiveId" clId="{9C2C8241-FBD3-42CB-A7CA-86B0343B6838}" dt="2021-12-09T10:37:07.222" v="946" actId="21"/>
          <ac:spMkLst>
            <pc:docMk/>
            <pc:sldMk cId="4194961205" sldId="283"/>
            <ac:spMk id="8" creationId="{F3927111-7F31-43A6-9EA8-359D50251E43}"/>
          </ac:spMkLst>
        </pc:spChg>
        <pc:graphicFrameChg chg="add del mod">
          <ac:chgData name="Magnus Lütt" userId="a5ce4c93dcdbffd9" providerId="LiveId" clId="{9C2C8241-FBD3-42CB-A7CA-86B0343B6838}" dt="2021-12-09T10:18:07.586" v="586"/>
          <ac:graphicFrameMkLst>
            <pc:docMk/>
            <pc:sldMk cId="4194961205" sldId="283"/>
            <ac:graphicFrameMk id="6" creationId="{D4FE527D-261A-4DC7-B374-F953F9F27119}"/>
          </ac:graphicFrameMkLst>
        </pc:graphicFrameChg>
        <pc:picChg chg="add mod">
          <ac:chgData name="Magnus Lütt" userId="a5ce4c93dcdbffd9" providerId="LiveId" clId="{9C2C8241-FBD3-42CB-A7CA-86B0343B6838}" dt="2021-12-09T10:18:21.880" v="591" actId="1076"/>
          <ac:picMkLst>
            <pc:docMk/>
            <pc:sldMk cId="4194961205" sldId="283"/>
            <ac:picMk id="7" creationId="{3E54AEC3-A3B9-4388-823C-405B45CB4150}"/>
          </ac:picMkLst>
        </pc:picChg>
      </pc:sldChg>
      <pc:sldChg chg="new del">
        <pc:chgData name="Magnus Lütt" userId="a5ce4c93dcdbffd9" providerId="LiveId" clId="{9C2C8241-FBD3-42CB-A7CA-86B0343B6838}" dt="2021-12-09T10:20:16.108" v="684" actId="47"/>
        <pc:sldMkLst>
          <pc:docMk/>
          <pc:sldMk cId="72356548" sldId="284"/>
        </pc:sldMkLst>
      </pc:sldChg>
      <pc:sldChg chg="addSp delSp modSp add mod ord">
        <pc:chgData name="Magnus Lütt" userId="a5ce4c93dcdbffd9" providerId="LiveId" clId="{9C2C8241-FBD3-42CB-A7CA-86B0343B6838}" dt="2021-12-09T11:49:26.897" v="3713" actId="20577"/>
        <pc:sldMkLst>
          <pc:docMk/>
          <pc:sldMk cId="2591750966" sldId="285"/>
        </pc:sldMkLst>
        <pc:spChg chg="mod">
          <ac:chgData name="Magnus Lütt" userId="a5ce4c93dcdbffd9" providerId="LiveId" clId="{9C2C8241-FBD3-42CB-A7CA-86B0343B6838}" dt="2021-12-09T10:11:22.720" v="565" actId="20577"/>
          <ac:spMkLst>
            <pc:docMk/>
            <pc:sldMk cId="2591750966" sldId="285"/>
            <ac:spMk id="4" creationId="{00000000-0000-0000-0000-000000000000}"/>
          </ac:spMkLst>
        </pc:spChg>
        <pc:spChg chg="del">
          <ac:chgData name="Magnus Lütt" userId="a5ce4c93dcdbffd9" providerId="LiveId" clId="{9C2C8241-FBD3-42CB-A7CA-86B0343B6838}" dt="2021-12-09T10:11:16.727" v="552" actId="478"/>
          <ac:spMkLst>
            <pc:docMk/>
            <pc:sldMk cId="2591750966" sldId="285"/>
            <ac:spMk id="7" creationId="{2B7D2D36-6027-490B-ABD2-40BE8A4464D9}"/>
          </ac:spMkLst>
        </pc:spChg>
        <pc:spChg chg="mod">
          <ac:chgData name="Magnus Lütt" userId="a5ce4c93dcdbffd9" providerId="LiveId" clId="{9C2C8241-FBD3-42CB-A7CA-86B0343B6838}" dt="2021-12-09T11:10:25.393" v="2331" actId="20577"/>
          <ac:spMkLst>
            <pc:docMk/>
            <pc:sldMk cId="2591750966" sldId="285"/>
            <ac:spMk id="11" creationId="{E61044E5-AD1A-48B2-B455-EEE584597F45}"/>
          </ac:spMkLst>
        </pc:spChg>
        <pc:spChg chg="add del">
          <ac:chgData name="Magnus Lütt" userId="a5ce4c93dcdbffd9" providerId="LiveId" clId="{9C2C8241-FBD3-42CB-A7CA-86B0343B6838}" dt="2021-12-09T10:11:46.099" v="569" actId="22"/>
          <ac:spMkLst>
            <pc:docMk/>
            <pc:sldMk cId="2591750966" sldId="285"/>
            <ac:spMk id="31" creationId="{CCEBCA6F-4806-4866-9788-E28CDF79EB19}"/>
          </ac:spMkLst>
        </pc:spChg>
        <pc:spChg chg="add mod">
          <ac:chgData name="Magnus Lütt" userId="a5ce4c93dcdbffd9" providerId="LiveId" clId="{9C2C8241-FBD3-42CB-A7CA-86B0343B6838}" dt="2021-12-09T11:49:26.897" v="3713" actId="20577"/>
          <ac:spMkLst>
            <pc:docMk/>
            <pc:sldMk cId="2591750966" sldId="285"/>
            <ac:spMk id="32" creationId="{8C3C7373-0E8C-4AE2-9919-028D2B48CBB2}"/>
          </ac:spMkLst>
        </pc:spChg>
        <pc:spChg chg="del">
          <ac:chgData name="Magnus Lütt" userId="a5ce4c93dcdbffd9" providerId="LiveId" clId="{9C2C8241-FBD3-42CB-A7CA-86B0343B6838}" dt="2021-12-09T10:11:16.727" v="552" actId="478"/>
          <ac:spMkLst>
            <pc:docMk/>
            <pc:sldMk cId="2591750966" sldId="285"/>
            <ac:spMk id="33" creationId="{4D70A02C-56A4-4411-932D-30B4F49234A0}"/>
          </ac:spMkLst>
        </pc:spChg>
        <pc:spChg chg="del">
          <ac:chgData name="Magnus Lütt" userId="a5ce4c93dcdbffd9" providerId="LiveId" clId="{9C2C8241-FBD3-42CB-A7CA-86B0343B6838}" dt="2021-12-09T10:11:16.727" v="552" actId="478"/>
          <ac:spMkLst>
            <pc:docMk/>
            <pc:sldMk cId="2591750966" sldId="285"/>
            <ac:spMk id="34" creationId="{554F38FF-5779-4B65-9AB8-431BA11D243D}"/>
          </ac:spMkLst>
        </pc:spChg>
        <pc:spChg chg="del">
          <ac:chgData name="Magnus Lütt" userId="a5ce4c93dcdbffd9" providerId="LiveId" clId="{9C2C8241-FBD3-42CB-A7CA-86B0343B6838}" dt="2021-12-09T10:11:16.727" v="552" actId="478"/>
          <ac:spMkLst>
            <pc:docMk/>
            <pc:sldMk cId="2591750966" sldId="285"/>
            <ac:spMk id="44" creationId="{CF48B5AE-688D-4787-9B28-C44DE7E4CD3D}"/>
          </ac:spMkLst>
        </pc:spChg>
        <pc:grpChg chg="del">
          <ac:chgData name="Magnus Lütt" userId="a5ce4c93dcdbffd9" providerId="LiveId" clId="{9C2C8241-FBD3-42CB-A7CA-86B0343B6838}" dt="2021-12-09T10:11:16.727" v="552" actId="478"/>
          <ac:grpSpMkLst>
            <pc:docMk/>
            <pc:sldMk cId="2591750966" sldId="285"/>
            <ac:grpSpMk id="6" creationId="{EE584B48-6C46-42F7-85DF-63291DCE31D0}"/>
          </ac:grpSpMkLst>
        </pc:grpChg>
        <pc:grpChg chg="del">
          <ac:chgData name="Magnus Lütt" userId="a5ce4c93dcdbffd9" providerId="LiveId" clId="{9C2C8241-FBD3-42CB-A7CA-86B0343B6838}" dt="2021-12-09T10:46:11.666" v="1200" actId="478"/>
          <ac:grpSpMkLst>
            <pc:docMk/>
            <pc:sldMk cId="2591750966" sldId="285"/>
            <ac:grpSpMk id="17" creationId="{E563B739-0BDA-46C1-873E-CCC87C52CEBC}"/>
          </ac:grpSpMkLst>
        </pc:grpChg>
        <pc:grpChg chg="del">
          <ac:chgData name="Magnus Lütt" userId="a5ce4c93dcdbffd9" providerId="LiveId" clId="{9C2C8241-FBD3-42CB-A7CA-86B0343B6838}" dt="2021-12-09T10:11:16.727" v="552" actId="478"/>
          <ac:grpSpMkLst>
            <pc:docMk/>
            <pc:sldMk cId="2591750966" sldId="285"/>
            <ac:grpSpMk id="39" creationId="{BCC2D97E-CE93-4EC2-8919-C7DE23FB2536}"/>
          </ac:grpSpMkLst>
        </pc:grpChg>
        <pc:picChg chg="del">
          <ac:chgData name="Magnus Lütt" userId="a5ce4c93dcdbffd9" providerId="LiveId" clId="{9C2C8241-FBD3-42CB-A7CA-86B0343B6838}" dt="2021-12-09T10:11:16.727" v="552" actId="478"/>
          <ac:picMkLst>
            <pc:docMk/>
            <pc:sldMk cId="2591750966" sldId="285"/>
            <ac:picMk id="3" creationId="{909D35D8-05B8-49A1-AD37-AB771B7CF6B6}"/>
          </ac:picMkLst>
        </pc:picChg>
        <pc:picChg chg="del">
          <ac:chgData name="Magnus Lütt" userId="a5ce4c93dcdbffd9" providerId="LiveId" clId="{9C2C8241-FBD3-42CB-A7CA-86B0343B6838}" dt="2021-12-09T10:11:16.727" v="552" actId="478"/>
          <ac:picMkLst>
            <pc:docMk/>
            <pc:sldMk cId="2591750966" sldId="285"/>
            <ac:picMk id="5" creationId="{AAEBF6BC-C458-4EB7-BE6D-1B191B90136B}"/>
          </ac:picMkLst>
        </pc:picChg>
        <pc:picChg chg="add mod">
          <ac:chgData name="Magnus Lütt" userId="a5ce4c93dcdbffd9" providerId="LiveId" clId="{9C2C8241-FBD3-42CB-A7CA-86B0343B6838}" dt="2021-12-09T11:11:55.279" v="2342" actId="1076"/>
          <ac:picMkLst>
            <pc:docMk/>
            <pc:sldMk cId="2591750966" sldId="285"/>
            <ac:picMk id="2050" creationId="{ECCE2310-E954-4CB2-ACE4-506ADF5D8D97}"/>
          </ac:picMkLst>
        </pc:picChg>
      </pc:sldChg>
      <pc:sldChg chg="addSp delSp modSp new del mod">
        <pc:chgData name="Magnus Lütt" userId="a5ce4c93dcdbffd9" providerId="LiveId" clId="{9C2C8241-FBD3-42CB-A7CA-86B0343B6838}" dt="2021-12-09T16:05:09.550" v="7728" actId="2696"/>
        <pc:sldMkLst>
          <pc:docMk/>
          <pc:sldMk cId="3744435274" sldId="286"/>
        </pc:sldMkLst>
        <pc:spChg chg="mod">
          <ac:chgData name="Magnus Lütt" userId="a5ce4c93dcdbffd9" providerId="LiveId" clId="{9C2C8241-FBD3-42CB-A7CA-86B0343B6838}" dt="2021-12-09T10:33:56.022" v="896" actId="20577"/>
          <ac:spMkLst>
            <pc:docMk/>
            <pc:sldMk cId="3744435274" sldId="286"/>
            <ac:spMk id="2" creationId="{6FCE15B6-2AFE-4890-9F08-44D80F9728FA}"/>
          </ac:spMkLst>
        </pc:spChg>
        <pc:spChg chg="del">
          <ac:chgData name="Magnus Lütt" userId="a5ce4c93dcdbffd9" providerId="LiveId" clId="{9C2C8241-FBD3-42CB-A7CA-86B0343B6838}" dt="2021-12-09T10:32:33.943" v="801" actId="478"/>
          <ac:spMkLst>
            <pc:docMk/>
            <pc:sldMk cId="3744435274" sldId="286"/>
            <ac:spMk id="3" creationId="{870AB6A1-6A4B-47FC-8EEF-5482F3F4AB82}"/>
          </ac:spMkLst>
        </pc:spChg>
        <pc:graphicFrameChg chg="add mod">
          <ac:chgData name="Magnus Lütt" userId="a5ce4c93dcdbffd9" providerId="LiveId" clId="{9C2C8241-FBD3-42CB-A7CA-86B0343B6838}" dt="2021-12-09T10:33:08.205" v="824" actId="1076"/>
          <ac:graphicFrameMkLst>
            <pc:docMk/>
            <pc:sldMk cId="3744435274" sldId="286"/>
            <ac:graphicFrameMk id="6" creationId="{438B53F7-9FE0-4F63-94E3-998646FE8BC2}"/>
          </ac:graphicFrameMkLst>
        </pc:graphicFrameChg>
      </pc:sldChg>
      <pc:sldChg chg="addSp delSp modSp add mod">
        <pc:chgData name="Magnus Lütt" userId="a5ce4c93dcdbffd9" providerId="LiveId" clId="{9C2C8241-FBD3-42CB-A7CA-86B0343B6838}" dt="2021-12-09T15:35:06.448" v="7143" actId="20577"/>
        <pc:sldMkLst>
          <pc:docMk/>
          <pc:sldMk cId="2017449985" sldId="287"/>
        </pc:sldMkLst>
        <pc:spChg chg="add del mod">
          <ac:chgData name="Magnus Lütt" userId="a5ce4c93dcdbffd9" providerId="LiveId" clId="{9C2C8241-FBD3-42CB-A7CA-86B0343B6838}" dt="2021-12-09T11:06:46.406" v="1951" actId="478"/>
          <ac:spMkLst>
            <pc:docMk/>
            <pc:sldMk cId="2017449985" sldId="287"/>
            <ac:spMk id="2" creationId="{EFEFE29E-152F-492D-8372-F26BD1D223FD}"/>
          </ac:spMkLst>
        </pc:spChg>
        <pc:spChg chg="del">
          <ac:chgData name="Magnus Lütt" userId="a5ce4c93dcdbffd9" providerId="LiveId" clId="{9C2C8241-FBD3-42CB-A7CA-86B0343B6838}" dt="2021-12-09T11:10:31.799" v="2334" actId="478"/>
          <ac:spMkLst>
            <pc:docMk/>
            <pc:sldMk cId="2017449985" sldId="287"/>
            <ac:spMk id="11" creationId="{E61044E5-AD1A-48B2-B455-EEE584597F45}"/>
          </ac:spMkLst>
        </pc:spChg>
        <pc:spChg chg="del">
          <ac:chgData name="Magnus Lütt" userId="a5ce4c93dcdbffd9" providerId="LiveId" clId="{9C2C8241-FBD3-42CB-A7CA-86B0343B6838}" dt="2021-12-09T14:46:14.893" v="6536" actId="478"/>
          <ac:spMkLst>
            <pc:docMk/>
            <pc:sldMk cId="2017449985" sldId="287"/>
            <ac:spMk id="20" creationId="{914A22B2-49AF-48AE-A767-9D75030DD0A8}"/>
          </ac:spMkLst>
        </pc:spChg>
        <pc:spChg chg="add del mod">
          <ac:chgData name="Magnus Lütt" userId="a5ce4c93dcdbffd9" providerId="LiveId" clId="{9C2C8241-FBD3-42CB-A7CA-86B0343B6838}" dt="2021-12-09T11:05:06.182" v="1928" actId="478"/>
          <ac:spMkLst>
            <pc:docMk/>
            <pc:sldMk cId="2017449985" sldId="287"/>
            <ac:spMk id="24" creationId="{780E4F1C-480D-41FA-9C18-A606EC00292D}"/>
          </ac:spMkLst>
        </pc:spChg>
        <pc:spChg chg="add del mod">
          <ac:chgData name="Magnus Lütt" userId="a5ce4c93dcdbffd9" providerId="LiveId" clId="{9C2C8241-FBD3-42CB-A7CA-86B0343B6838}" dt="2021-12-09T11:06:47.022" v="1952" actId="478"/>
          <ac:spMkLst>
            <pc:docMk/>
            <pc:sldMk cId="2017449985" sldId="287"/>
            <ac:spMk id="25" creationId="{C91CB823-2D2F-406C-8054-A7EC283EB384}"/>
          </ac:spMkLst>
        </pc:spChg>
        <pc:spChg chg="add mod">
          <ac:chgData name="Magnus Lütt" userId="a5ce4c93dcdbffd9" providerId="LiveId" clId="{9C2C8241-FBD3-42CB-A7CA-86B0343B6838}" dt="2021-12-09T11:10:31.976" v="2335"/>
          <ac:spMkLst>
            <pc:docMk/>
            <pc:sldMk cId="2017449985" sldId="287"/>
            <ac:spMk id="27" creationId="{1ADF62C3-5D6E-4938-80C5-505ACE70016D}"/>
          </ac:spMkLst>
        </pc:spChg>
        <pc:spChg chg="mod">
          <ac:chgData name="Magnus Lütt" userId="a5ce4c93dcdbffd9" providerId="LiveId" clId="{9C2C8241-FBD3-42CB-A7CA-86B0343B6838}" dt="2021-12-09T15:35:06.448" v="7143" actId="20577"/>
          <ac:spMkLst>
            <pc:docMk/>
            <pc:sldMk cId="2017449985" sldId="287"/>
            <ac:spMk id="31" creationId="{A466A1C1-91D2-4A97-9680-0017B452BB8D}"/>
          </ac:spMkLst>
        </pc:spChg>
        <pc:spChg chg="mod">
          <ac:chgData name="Magnus Lütt" userId="a5ce4c93dcdbffd9" providerId="LiveId" clId="{9C2C8241-FBD3-42CB-A7CA-86B0343B6838}" dt="2021-12-09T11:10:03.609" v="2323" actId="20577"/>
          <ac:spMkLst>
            <pc:docMk/>
            <pc:sldMk cId="2017449985" sldId="287"/>
            <ac:spMk id="34" creationId="{554F38FF-5779-4B65-9AB8-431BA11D243D}"/>
          </ac:spMkLst>
        </pc:spChg>
        <pc:graphicFrameChg chg="add mod">
          <ac:chgData name="Magnus Lütt" userId="a5ce4c93dcdbffd9" providerId="LiveId" clId="{9C2C8241-FBD3-42CB-A7CA-86B0343B6838}" dt="2021-12-09T10:58:31.875" v="1783"/>
          <ac:graphicFrameMkLst>
            <pc:docMk/>
            <pc:sldMk cId="2017449985" sldId="287"/>
            <ac:graphicFrameMk id="12" creationId="{0641625E-AEFE-4C93-99CF-C8C14A4DB223}"/>
          </ac:graphicFrameMkLst>
        </pc:graphicFrameChg>
        <pc:graphicFrameChg chg="add mod">
          <ac:chgData name="Magnus Lütt" userId="a5ce4c93dcdbffd9" providerId="LiveId" clId="{9C2C8241-FBD3-42CB-A7CA-86B0343B6838}" dt="2021-12-09T10:58:31.875" v="1783"/>
          <ac:graphicFrameMkLst>
            <pc:docMk/>
            <pc:sldMk cId="2017449985" sldId="287"/>
            <ac:graphicFrameMk id="13" creationId="{58478CC8-2813-425E-99AC-AD5306B206C4}"/>
          </ac:graphicFrameMkLst>
        </pc:graphicFrameChg>
        <pc:graphicFrameChg chg="add mod">
          <ac:chgData name="Magnus Lütt" userId="a5ce4c93dcdbffd9" providerId="LiveId" clId="{9C2C8241-FBD3-42CB-A7CA-86B0343B6838}" dt="2021-12-09T10:58:35.437" v="1787"/>
          <ac:graphicFrameMkLst>
            <pc:docMk/>
            <pc:sldMk cId="2017449985" sldId="287"/>
            <ac:graphicFrameMk id="15" creationId="{0641625E-AEFE-4C93-99CF-C8C14A4DB223}"/>
          </ac:graphicFrameMkLst>
        </pc:graphicFrameChg>
        <pc:graphicFrameChg chg="add mod">
          <ac:chgData name="Magnus Lütt" userId="a5ce4c93dcdbffd9" providerId="LiveId" clId="{9C2C8241-FBD3-42CB-A7CA-86B0343B6838}" dt="2021-12-09T10:58:35.437" v="1787"/>
          <ac:graphicFrameMkLst>
            <pc:docMk/>
            <pc:sldMk cId="2017449985" sldId="287"/>
            <ac:graphicFrameMk id="16" creationId="{58478CC8-2813-425E-99AC-AD5306B206C4}"/>
          </ac:graphicFrameMkLst>
        </pc:graphicFrameChg>
        <pc:graphicFrameChg chg="add mod">
          <ac:chgData name="Magnus Lütt" userId="a5ce4c93dcdbffd9" providerId="LiveId" clId="{9C2C8241-FBD3-42CB-A7CA-86B0343B6838}" dt="2021-12-09T10:58:37.493" v="1789"/>
          <ac:graphicFrameMkLst>
            <pc:docMk/>
            <pc:sldMk cId="2017449985" sldId="287"/>
            <ac:graphicFrameMk id="17" creationId="{0641625E-AEFE-4C93-99CF-C8C14A4DB223}"/>
          </ac:graphicFrameMkLst>
        </pc:graphicFrameChg>
        <pc:graphicFrameChg chg="add mod">
          <ac:chgData name="Magnus Lütt" userId="a5ce4c93dcdbffd9" providerId="LiveId" clId="{9C2C8241-FBD3-42CB-A7CA-86B0343B6838}" dt="2021-12-09T10:58:37.493" v="1789"/>
          <ac:graphicFrameMkLst>
            <pc:docMk/>
            <pc:sldMk cId="2017449985" sldId="287"/>
            <ac:graphicFrameMk id="18" creationId="{58478CC8-2813-425E-99AC-AD5306B206C4}"/>
          </ac:graphicFrameMkLst>
        </pc:graphicFrameChg>
        <pc:graphicFrameChg chg="add del mod">
          <ac:chgData name="Magnus Lütt" userId="a5ce4c93dcdbffd9" providerId="LiveId" clId="{9C2C8241-FBD3-42CB-A7CA-86B0343B6838}" dt="2021-12-09T11:00:45.310" v="1826" actId="478"/>
          <ac:graphicFrameMkLst>
            <pc:docMk/>
            <pc:sldMk cId="2017449985" sldId="287"/>
            <ac:graphicFrameMk id="19" creationId="{0641625E-AEFE-4C93-99CF-C8C14A4DB223}"/>
          </ac:graphicFrameMkLst>
        </pc:graphicFrameChg>
        <pc:graphicFrameChg chg="add del mod">
          <ac:chgData name="Magnus Lütt" userId="a5ce4c93dcdbffd9" providerId="LiveId" clId="{9C2C8241-FBD3-42CB-A7CA-86B0343B6838}" dt="2021-12-09T11:00:46.334" v="1827" actId="478"/>
          <ac:graphicFrameMkLst>
            <pc:docMk/>
            <pc:sldMk cId="2017449985" sldId="287"/>
            <ac:graphicFrameMk id="21" creationId="{58478CC8-2813-425E-99AC-AD5306B206C4}"/>
          </ac:graphicFrameMkLst>
        </pc:graphicFrameChg>
        <pc:graphicFrameChg chg="add mod">
          <ac:chgData name="Magnus Lütt" userId="a5ce4c93dcdbffd9" providerId="LiveId" clId="{9C2C8241-FBD3-42CB-A7CA-86B0343B6838}" dt="2021-12-09T15:15:21.255" v="6623"/>
          <ac:graphicFrameMkLst>
            <pc:docMk/>
            <pc:sldMk cId="2017449985" sldId="287"/>
            <ac:graphicFrameMk id="22" creationId="{0641625E-AEFE-4C93-99CF-C8C14A4DB223}"/>
          </ac:graphicFrameMkLst>
        </pc:graphicFrameChg>
        <pc:graphicFrameChg chg="add mod">
          <ac:chgData name="Magnus Lütt" userId="a5ce4c93dcdbffd9" providerId="LiveId" clId="{9C2C8241-FBD3-42CB-A7CA-86B0343B6838}" dt="2021-12-09T15:15:24.813" v="6625"/>
          <ac:graphicFrameMkLst>
            <pc:docMk/>
            <pc:sldMk cId="2017449985" sldId="287"/>
            <ac:graphicFrameMk id="23" creationId="{58478CC8-2813-425E-99AC-AD5306B206C4}"/>
          </ac:graphicFrameMkLst>
        </pc:graphicFrameChg>
        <pc:graphicFrameChg chg="del">
          <ac:chgData name="Magnus Lütt" userId="a5ce4c93dcdbffd9" providerId="LiveId" clId="{9C2C8241-FBD3-42CB-A7CA-86B0343B6838}" dt="2021-12-09T10:57:38.324" v="1779" actId="478"/>
          <ac:graphicFrameMkLst>
            <pc:docMk/>
            <pc:sldMk cId="2017449985" sldId="287"/>
            <ac:graphicFrameMk id="36" creationId="{438B53F7-9FE0-4F63-94E3-998646FE8BC2}"/>
          </ac:graphicFrameMkLst>
        </pc:graphicFrameChg>
        <pc:picChg chg="add mod">
          <ac:chgData name="Magnus Lütt" userId="a5ce4c93dcdbffd9" providerId="LiveId" clId="{9C2C8241-FBD3-42CB-A7CA-86B0343B6838}" dt="2021-12-09T11:12:02.441" v="2345"/>
          <ac:picMkLst>
            <pc:docMk/>
            <pc:sldMk cId="2017449985" sldId="287"/>
            <ac:picMk id="28" creationId="{DF802EE5-26FB-4F02-8C63-5A4F30A3BF57}"/>
          </ac:picMkLst>
        </pc:picChg>
      </pc:sldChg>
      <pc:sldChg chg="addSp delSp modSp add mod modNotesTx">
        <pc:chgData name="Magnus Lütt" userId="a5ce4c93dcdbffd9" providerId="LiveId" clId="{9C2C8241-FBD3-42CB-A7CA-86B0343B6838}" dt="2021-12-09T15:55:30.315" v="7370" actId="14100"/>
        <pc:sldMkLst>
          <pc:docMk/>
          <pc:sldMk cId="3426633103" sldId="288"/>
        </pc:sldMkLst>
        <pc:spChg chg="mod">
          <ac:chgData name="Magnus Lütt" userId="a5ce4c93dcdbffd9" providerId="LiveId" clId="{9C2C8241-FBD3-42CB-A7CA-86B0343B6838}" dt="2021-12-09T15:38:30.944" v="7277" actId="20577"/>
          <ac:spMkLst>
            <pc:docMk/>
            <pc:sldMk cId="3426633103" sldId="288"/>
            <ac:spMk id="4" creationId="{00000000-0000-0000-0000-000000000000}"/>
          </ac:spMkLst>
        </pc:spChg>
        <pc:spChg chg="add del mod">
          <ac:chgData name="Magnus Lütt" userId="a5ce4c93dcdbffd9" providerId="LiveId" clId="{9C2C8241-FBD3-42CB-A7CA-86B0343B6838}" dt="2021-12-09T11:24:51.490" v="2747" actId="478"/>
          <ac:spMkLst>
            <pc:docMk/>
            <pc:sldMk cId="3426633103" sldId="288"/>
            <ac:spMk id="5" creationId="{A4333FE5-9291-4A53-AF8D-9559A1435124}"/>
          </ac:spMkLst>
        </pc:spChg>
        <pc:spChg chg="add mod">
          <ac:chgData name="Magnus Lütt" userId="a5ce4c93dcdbffd9" providerId="LiveId" clId="{9C2C8241-FBD3-42CB-A7CA-86B0343B6838}" dt="2021-12-09T11:28:57.459" v="2919" actId="1076"/>
          <ac:spMkLst>
            <pc:docMk/>
            <pc:sldMk cId="3426633103" sldId="288"/>
            <ac:spMk id="6" creationId="{CF7567E8-5B0B-462E-999F-7BAE2F6D446C}"/>
          </ac:spMkLst>
        </pc:spChg>
        <pc:spChg chg="add mod">
          <ac:chgData name="Magnus Lütt" userId="a5ce4c93dcdbffd9" providerId="LiveId" clId="{9C2C8241-FBD3-42CB-A7CA-86B0343B6838}" dt="2021-12-09T15:07:24.133" v="6559" actId="1076"/>
          <ac:spMkLst>
            <pc:docMk/>
            <pc:sldMk cId="3426633103" sldId="288"/>
            <ac:spMk id="9" creationId="{0E60E1D2-F200-47DC-BD0E-448DCC68BD21}"/>
          </ac:spMkLst>
        </pc:spChg>
        <pc:spChg chg="add mod">
          <ac:chgData name="Magnus Lütt" userId="a5ce4c93dcdbffd9" providerId="LiveId" clId="{9C2C8241-FBD3-42CB-A7CA-86B0343B6838}" dt="2021-12-09T11:28:57.459" v="2919" actId="1076"/>
          <ac:spMkLst>
            <pc:docMk/>
            <pc:sldMk cId="3426633103" sldId="288"/>
            <ac:spMk id="10" creationId="{5FF19E6B-2E74-4FCF-A534-B686E2497BD9}"/>
          </ac:spMkLst>
        </pc:spChg>
        <pc:spChg chg="add mod">
          <ac:chgData name="Magnus Lütt" userId="a5ce4c93dcdbffd9" providerId="LiveId" clId="{9C2C8241-FBD3-42CB-A7CA-86B0343B6838}" dt="2021-12-09T11:28:57.459" v="2919" actId="1076"/>
          <ac:spMkLst>
            <pc:docMk/>
            <pc:sldMk cId="3426633103" sldId="288"/>
            <ac:spMk id="17" creationId="{3D9CB7E8-677E-4AC4-B8C3-0209BF7BD3AF}"/>
          </ac:spMkLst>
        </pc:spChg>
        <pc:spChg chg="add mod">
          <ac:chgData name="Magnus Lütt" userId="a5ce4c93dcdbffd9" providerId="LiveId" clId="{9C2C8241-FBD3-42CB-A7CA-86B0343B6838}" dt="2021-12-09T11:28:57.459" v="2919" actId="1076"/>
          <ac:spMkLst>
            <pc:docMk/>
            <pc:sldMk cId="3426633103" sldId="288"/>
            <ac:spMk id="18" creationId="{3107109F-31D1-4D37-8387-0931C201ADB3}"/>
          </ac:spMkLst>
        </pc:spChg>
        <pc:spChg chg="add mod">
          <ac:chgData name="Magnus Lütt" userId="a5ce4c93dcdbffd9" providerId="LiveId" clId="{9C2C8241-FBD3-42CB-A7CA-86B0343B6838}" dt="2021-12-09T11:28:57.459" v="2919" actId="1076"/>
          <ac:spMkLst>
            <pc:docMk/>
            <pc:sldMk cId="3426633103" sldId="288"/>
            <ac:spMk id="19" creationId="{05EA5C8C-07C5-476D-831C-292C8F65C247}"/>
          </ac:spMkLst>
        </pc:spChg>
        <pc:spChg chg="add mod">
          <ac:chgData name="Magnus Lütt" userId="a5ce4c93dcdbffd9" providerId="LiveId" clId="{9C2C8241-FBD3-42CB-A7CA-86B0343B6838}" dt="2021-12-09T11:28:57.459" v="2919" actId="1076"/>
          <ac:spMkLst>
            <pc:docMk/>
            <pc:sldMk cId="3426633103" sldId="288"/>
            <ac:spMk id="21" creationId="{A9E4AA99-4A93-4C0D-AD69-FF7E1CE03C7E}"/>
          </ac:spMkLst>
        </pc:spChg>
        <pc:spChg chg="mod">
          <ac:chgData name="Magnus Lütt" userId="a5ce4c93dcdbffd9" providerId="LiveId" clId="{9C2C8241-FBD3-42CB-A7CA-86B0343B6838}" dt="2021-12-09T11:20:07.523" v="2699" actId="20577"/>
          <ac:spMkLst>
            <pc:docMk/>
            <pc:sldMk cId="3426633103" sldId="288"/>
            <ac:spMk id="31" creationId="{A466A1C1-91D2-4A97-9680-0017B452BB8D}"/>
          </ac:spMkLst>
        </pc:spChg>
        <pc:spChg chg="mod">
          <ac:chgData name="Magnus Lütt" userId="a5ce4c93dcdbffd9" providerId="LiveId" clId="{9C2C8241-FBD3-42CB-A7CA-86B0343B6838}" dt="2021-12-09T14:43:00.284" v="6416" actId="20577"/>
          <ac:spMkLst>
            <pc:docMk/>
            <pc:sldMk cId="3426633103" sldId="288"/>
            <ac:spMk id="34" creationId="{554F38FF-5779-4B65-9AB8-431BA11D243D}"/>
          </ac:spMkLst>
        </pc:spChg>
        <pc:spChg chg="add del mod">
          <ac:chgData name="Magnus Lütt" userId="a5ce4c93dcdbffd9" providerId="LiveId" clId="{9C2C8241-FBD3-42CB-A7CA-86B0343B6838}" dt="2021-12-09T11:28:06.358" v="2846" actId="478"/>
          <ac:spMkLst>
            <pc:docMk/>
            <pc:sldMk cId="3426633103" sldId="288"/>
            <ac:spMk id="36" creationId="{E3EEA45D-4D52-4BC2-AC1F-2F57893D169B}"/>
          </ac:spMkLst>
        </pc:spChg>
        <pc:spChg chg="add mod">
          <ac:chgData name="Magnus Lütt" userId="a5ce4c93dcdbffd9" providerId="LiveId" clId="{9C2C8241-FBD3-42CB-A7CA-86B0343B6838}" dt="2021-12-09T11:30:46.069" v="2953" actId="14100"/>
          <ac:spMkLst>
            <pc:docMk/>
            <pc:sldMk cId="3426633103" sldId="288"/>
            <ac:spMk id="37" creationId="{84E330E3-60B1-41FF-9B7D-06196B7F9956}"/>
          </ac:spMkLst>
        </pc:spChg>
        <pc:spChg chg="add del mod">
          <ac:chgData name="Magnus Lütt" userId="a5ce4c93dcdbffd9" providerId="LiveId" clId="{9C2C8241-FBD3-42CB-A7CA-86B0343B6838}" dt="2021-12-09T15:54:01.895" v="7366" actId="478"/>
          <ac:spMkLst>
            <pc:docMk/>
            <pc:sldMk cId="3426633103" sldId="288"/>
            <ac:spMk id="38" creationId="{8DAF3C3A-DECF-4546-B97B-F0AF0F427626}"/>
          </ac:spMkLst>
        </pc:spChg>
        <pc:spChg chg="add del mod">
          <ac:chgData name="Magnus Lütt" userId="a5ce4c93dcdbffd9" providerId="LiveId" clId="{9C2C8241-FBD3-42CB-A7CA-86B0343B6838}" dt="2021-12-09T15:54:03.239" v="7367" actId="478"/>
          <ac:spMkLst>
            <pc:docMk/>
            <pc:sldMk cId="3426633103" sldId="288"/>
            <ac:spMk id="39" creationId="{B43698C0-BCA4-43B6-BEFF-EED5E34C873B}"/>
          </ac:spMkLst>
        </pc:spChg>
        <pc:spChg chg="add del mod">
          <ac:chgData name="Magnus Lütt" userId="a5ce4c93dcdbffd9" providerId="LiveId" clId="{9C2C8241-FBD3-42CB-A7CA-86B0343B6838}" dt="2021-12-09T15:54:04.317" v="7368" actId="478"/>
          <ac:spMkLst>
            <pc:docMk/>
            <pc:sldMk cId="3426633103" sldId="288"/>
            <ac:spMk id="40" creationId="{03E5F0DA-DC59-4B50-9013-359C79C28703}"/>
          </ac:spMkLst>
        </pc:spChg>
        <pc:spChg chg="add mod">
          <ac:chgData name="Magnus Lütt" userId="a5ce4c93dcdbffd9" providerId="LiveId" clId="{9C2C8241-FBD3-42CB-A7CA-86B0343B6838}" dt="2021-12-09T15:07:31.849" v="6562" actId="1076"/>
          <ac:spMkLst>
            <pc:docMk/>
            <pc:sldMk cId="3426633103" sldId="288"/>
            <ac:spMk id="42" creationId="{AAFD7539-43D8-416E-AE32-DAC912FFE596}"/>
          </ac:spMkLst>
        </pc:spChg>
        <pc:spChg chg="add mod">
          <ac:chgData name="Magnus Lütt" userId="a5ce4c93dcdbffd9" providerId="LiveId" clId="{9C2C8241-FBD3-42CB-A7CA-86B0343B6838}" dt="2021-12-09T15:07:29.600" v="6561" actId="1076"/>
          <ac:spMkLst>
            <pc:docMk/>
            <pc:sldMk cId="3426633103" sldId="288"/>
            <ac:spMk id="43" creationId="{317D7B4C-DC4F-42FF-8EA6-59A90C483D96}"/>
          </ac:spMkLst>
        </pc:spChg>
        <pc:spChg chg="add mod">
          <ac:chgData name="Magnus Lütt" userId="a5ce4c93dcdbffd9" providerId="LiveId" clId="{9C2C8241-FBD3-42CB-A7CA-86B0343B6838}" dt="2021-12-09T15:55:30.315" v="7370" actId="14100"/>
          <ac:spMkLst>
            <pc:docMk/>
            <pc:sldMk cId="3426633103" sldId="288"/>
            <ac:spMk id="44" creationId="{B99D5B56-3E9E-4397-B209-69DB1CC8332F}"/>
          </ac:spMkLst>
        </pc:spChg>
        <pc:grpChg chg="add mod">
          <ac:chgData name="Magnus Lütt" userId="a5ce4c93dcdbffd9" providerId="LiveId" clId="{9C2C8241-FBD3-42CB-A7CA-86B0343B6838}" dt="2021-12-09T11:29:05.954" v="2922" actId="1076"/>
          <ac:grpSpMkLst>
            <pc:docMk/>
            <pc:sldMk cId="3426633103" sldId="288"/>
            <ac:grpSpMk id="25" creationId="{B1C7BC82-9D74-4703-99A8-B7125555B5AD}"/>
          </ac:grpSpMkLst>
        </pc:grpChg>
        <pc:graphicFrameChg chg="del">
          <ac:chgData name="Magnus Lütt" userId="a5ce4c93dcdbffd9" providerId="LiveId" clId="{9C2C8241-FBD3-42CB-A7CA-86B0343B6838}" dt="2021-12-09T11:16:22.870" v="2630" actId="478"/>
          <ac:graphicFrameMkLst>
            <pc:docMk/>
            <pc:sldMk cId="3426633103" sldId="288"/>
            <ac:graphicFrameMk id="22" creationId="{0641625E-AEFE-4C93-99CF-C8C14A4DB223}"/>
          </ac:graphicFrameMkLst>
        </pc:graphicFrameChg>
        <pc:graphicFrameChg chg="del">
          <ac:chgData name="Magnus Lütt" userId="a5ce4c93dcdbffd9" providerId="LiveId" clId="{9C2C8241-FBD3-42CB-A7CA-86B0343B6838}" dt="2021-12-09T11:16:22.870" v="2630" actId="478"/>
          <ac:graphicFrameMkLst>
            <pc:docMk/>
            <pc:sldMk cId="3426633103" sldId="288"/>
            <ac:graphicFrameMk id="23" creationId="{58478CC8-2813-425E-99AC-AD5306B206C4}"/>
          </ac:graphicFrameMkLst>
        </pc:graphicFrameChg>
        <pc:picChg chg="add mod">
          <ac:chgData name="Magnus Lütt" userId="a5ce4c93dcdbffd9" providerId="LiveId" clId="{9C2C8241-FBD3-42CB-A7CA-86B0343B6838}" dt="2021-12-09T11:29:52.318" v="2934" actId="1076"/>
          <ac:picMkLst>
            <pc:docMk/>
            <pc:sldMk cId="3426633103" sldId="288"/>
            <ac:picMk id="3" creationId="{8A68A9BF-08C2-4BF6-BC17-EFAA77FBB610}"/>
          </ac:picMkLst>
        </pc:picChg>
        <pc:picChg chg="add del mod">
          <ac:chgData name="Magnus Lütt" userId="a5ce4c93dcdbffd9" providerId="LiveId" clId="{9C2C8241-FBD3-42CB-A7CA-86B0343B6838}" dt="2021-12-09T11:37:31.308" v="3299" actId="21"/>
          <ac:picMkLst>
            <pc:docMk/>
            <pc:sldMk cId="3426633103" sldId="288"/>
            <ac:picMk id="12" creationId="{CA867BC6-C02A-41D3-AFF2-38806E3A20CE}"/>
          </ac:picMkLst>
        </pc:picChg>
        <pc:picChg chg="add del mod">
          <ac:chgData name="Magnus Lütt" userId="a5ce4c93dcdbffd9" providerId="LiveId" clId="{9C2C8241-FBD3-42CB-A7CA-86B0343B6838}" dt="2021-12-09T11:39:06.392" v="3330" actId="478"/>
          <ac:picMkLst>
            <pc:docMk/>
            <pc:sldMk cId="3426633103" sldId="288"/>
            <ac:picMk id="41" creationId="{6EBF7D24-FF74-4177-AF08-F88C11FF4A7D}"/>
          </ac:picMkLst>
        </pc:picChg>
        <pc:cxnChg chg="add del mod">
          <ac:chgData name="Magnus Lütt" userId="a5ce4c93dcdbffd9" providerId="LiveId" clId="{9C2C8241-FBD3-42CB-A7CA-86B0343B6838}" dt="2021-12-09T11:26:47.894" v="2827" actId="478"/>
          <ac:cxnSpMkLst>
            <pc:docMk/>
            <pc:sldMk cId="3426633103" sldId="288"/>
            <ac:cxnSpMk id="8" creationId="{70C87703-34FF-43B7-B039-FCE9D204FD81}"/>
          </ac:cxnSpMkLst>
        </pc:cxnChg>
        <pc:cxnChg chg="mod">
          <ac:chgData name="Magnus Lütt" userId="a5ce4c93dcdbffd9" providerId="LiveId" clId="{9C2C8241-FBD3-42CB-A7CA-86B0343B6838}" dt="2021-12-09T11:29:32.020" v="2928" actId="1582"/>
          <ac:cxnSpMkLst>
            <pc:docMk/>
            <pc:sldMk cId="3426633103" sldId="288"/>
            <ac:cxnSpMk id="29" creationId="{49CF5B17-4E3C-4241-BA43-B000FA0C29FC}"/>
          </ac:cxnSpMkLst>
        </pc:cxnChg>
        <pc:cxnChg chg="mod">
          <ac:chgData name="Magnus Lütt" userId="a5ce4c93dcdbffd9" providerId="LiveId" clId="{9C2C8241-FBD3-42CB-A7CA-86B0343B6838}" dt="2021-12-09T11:29:32.020" v="2928" actId="1582"/>
          <ac:cxnSpMkLst>
            <pc:docMk/>
            <pc:sldMk cId="3426633103" sldId="288"/>
            <ac:cxnSpMk id="30" creationId="{442104D1-D1CA-4A63-A593-B639A47BD951}"/>
          </ac:cxnSpMkLst>
        </pc:cxnChg>
        <pc:cxnChg chg="mod">
          <ac:chgData name="Magnus Lütt" userId="a5ce4c93dcdbffd9" providerId="LiveId" clId="{9C2C8241-FBD3-42CB-A7CA-86B0343B6838}" dt="2021-12-09T11:29:32.020" v="2928" actId="1582"/>
          <ac:cxnSpMkLst>
            <pc:docMk/>
            <pc:sldMk cId="3426633103" sldId="288"/>
            <ac:cxnSpMk id="32" creationId="{7872C305-729B-4B78-940B-B0B472FA00DB}"/>
          </ac:cxnSpMkLst>
        </pc:cxnChg>
        <pc:cxnChg chg="mod">
          <ac:chgData name="Magnus Lütt" userId="a5ce4c93dcdbffd9" providerId="LiveId" clId="{9C2C8241-FBD3-42CB-A7CA-86B0343B6838}" dt="2021-12-09T11:29:32.020" v="2928" actId="1582"/>
          <ac:cxnSpMkLst>
            <pc:docMk/>
            <pc:sldMk cId="3426633103" sldId="288"/>
            <ac:cxnSpMk id="35" creationId="{8F34E3EE-6587-48A3-8173-287C29F5C5C0}"/>
          </ac:cxnSpMkLst>
        </pc:cxnChg>
      </pc:sldChg>
      <pc:sldChg chg="addSp delSp modSp add mod ord modNotesTx">
        <pc:chgData name="Magnus Lütt" userId="a5ce4c93dcdbffd9" providerId="LiveId" clId="{9C2C8241-FBD3-42CB-A7CA-86B0343B6838}" dt="2021-12-09T15:25:01.055" v="6818" actId="20577"/>
        <pc:sldMkLst>
          <pc:docMk/>
          <pc:sldMk cId="3186953294" sldId="289"/>
        </pc:sldMkLst>
        <pc:spChg chg="add mod">
          <ac:chgData name="Magnus Lütt" userId="a5ce4c93dcdbffd9" providerId="LiveId" clId="{9C2C8241-FBD3-42CB-A7CA-86B0343B6838}" dt="2021-12-09T14:30:53.996" v="5706" actId="1076"/>
          <ac:spMkLst>
            <pc:docMk/>
            <pc:sldMk cId="3186953294" sldId="289"/>
            <ac:spMk id="2" creationId="{CBA8ABC9-D056-46C4-93D6-1B8093758738}"/>
          </ac:spMkLst>
        </pc:spChg>
        <pc:spChg chg="mod">
          <ac:chgData name="Magnus Lütt" userId="a5ce4c93dcdbffd9" providerId="LiveId" clId="{9C2C8241-FBD3-42CB-A7CA-86B0343B6838}" dt="2021-12-09T11:37:43.979" v="3307" actId="20577"/>
          <ac:spMkLst>
            <pc:docMk/>
            <pc:sldMk cId="3186953294" sldId="289"/>
            <ac:spMk id="4" creationId="{00000000-0000-0000-0000-000000000000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6" creationId="{CF7567E8-5B0B-462E-999F-7BAE2F6D446C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9" creationId="{0E60E1D2-F200-47DC-BD0E-448DCC68BD21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10" creationId="{5FF19E6B-2E74-4FCF-A534-B686E2497BD9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17" creationId="{3D9CB7E8-677E-4AC4-B8C3-0209BF7BD3AF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18" creationId="{3107109F-31D1-4D37-8387-0931C201ADB3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19" creationId="{05EA5C8C-07C5-476D-831C-292C8F65C247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21" creationId="{A9E4AA99-4A93-4C0D-AD69-FF7E1CE03C7E}"/>
          </ac:spMkLst>
        </pc:spChg>
        <pc:spChg chg="del">
          <ac:chgData name="Magnus Lütt" userId="a5ce4c93dcdbffd9" providerId="LiveId" clId="{9C2C8241-FBD3-42CB-A7CA-86B0343B6838}" dt="2021-12-09T11:37:47.213" v="3309" actId="478"/>
          <ac:spMkLst>
            <pc:docMk/>
            <pc:sldMk cId="3186953294" sldId="289"/>
            <ac:spMk id="31" creationId="{A466A1C1-91D2-4A97-9680-0017B452BB8D}"/>
          </ac:spMkLst>
        </pc:spChg>
        <pc:spChg chg="del">
          <ac:chgData name="Magnus Lütt" userId="a5ce4c93dcdbffd9" providerId="LiveId" clId="{9C2C8241-FBD3-42CB-A7CA-86B0343B6838}" dt="2021-12-09T14:30:09.868" v="5668" actId="478"/>
          <ac:spMkLst>
            <pc:docMk/>
            <pc:sldMk cId="3186953294" sldId="289"/>
            <ac:spMk id="33" creationId="{4D70A02C-56A4-4411-932D-30B4F49234A0}"/>
          </ac:spMkLst>
        </pc:spChg>
        <pc:spChg chg="del">
          <ac:chgData name="Magnus Lütt" userId="a5ce4c93dcdbffd9" providerId="LiveId" clId="{9C2C8241-FBD3-42CB-A7CA-86B0343B6838}" dt="2021-12-09T14:30:09.238" v="5667" actId="478"/>
          <ac:spMkLst>
            <pc:docMk/>
            <pc:sldMk cId="3186953294" sldId="289"/>
            <ac:spMk id="34" creationId="{554F38FF-5779-4B65-9AB8-431BA11D243D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37" creationId="{84E330E3-60B1-41FF-9B7D-06196B7F9956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38" creationId="{8DAF3C3A-DECF-4546-B97B-F0AF0F427626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39" creationId="{B43698C0-BCA4-43B6-BEFF-EED5E34C873B}"/>
          </ac:spMkLst>
        </pc:spChg>
        <pc:spChg chg="del">
          <ac:chgData name="Magnus Lütt" userId="a5ce4c93dcdbffd9" providerId="LiveId" clId="{9C2C8241-FBD3-42CB-A7CA-86B0343B6838}" dt="2021-12-09T11:37:48.572" v="3310" actId="478"/>
          <ac:spMkLst>
            <pc:docMk/>
            <pc:sldMk cId="3186953294" sldId="289"/>
            <ac:spMk id="40" creationId="{03E5F0DA-DC59-4B50-9013-359C79C28703}"/>
          </ac:spMkLst>
        </pc:spChg>
        <pc:spChg chg="add mod">
          <ac:chgData name="Magnus Lütt" userId="a5ce4c93dcdbffd9" providerId="LiveId" clId="{9C2C8241-FBD3-42CB-A7CA-86B0343B6838}" dt="2021-12-09T14:31:47.434" v="5849" actId="1076"/>
          <ac:spMkLst>
            <pc:docMk/>
            <pc:sldMk cId="3186953294" sldId="289"/>
            <ac:spMk id="42" creationId="{C943C6C8-77FE-4099-91A6-B40A7F0DEF0C}"/>
          </ac:spMkLst>
        </pc:spChg>
        <pc:spChg chg="add mod">
          <ac:chgData name="Magnus Lütt" userId="a5ce4c93dcdbffd9" providerId="LiveId" clId="{9C2C8241-FBD3-42CB-A7CA-86B0343B6838}" dt="2021-12-09T14:33:42.665" v="5911" actId="1076"/>
          <ac:spMkLst>
            <pc:docMk/>
            <pc:sldMk cId="3186953294" sldId="289"/>
            <ac:spMk id="43" creationId="{DE4CB918-E21C-4E6D-8F8B-361464EF4C5C}"/>
          </ac:spMkLst>
        </pc:spChg>
        <pc:grpChg chg="del">
          <ac:chgData name="Magnus Lütt" userId="a5ce4c93dcdbffd9" providerId="LiveId" clId="{9C2C8241-FBD3-42CB-A7CA-86B0343B6838}" dt="2021-12-09T11:37:48.572" v="3310" actId="478"/>
          <ac:grpSpMkLst>
            <pc:docMk/>
            <pc:sldMk cId="3186953294" sldId="289"/>
            <ac:grpSpMk id="25" creationId="{B1C7BC82-9D74-4703-99A8-B7125555B5AD}"/>
          </ac:grpSpMkLst>
        </pc:grpChg>
        <pc:graphicFrameChg chg="add mod">
          <ac:chgData name="Magnus Lütt" userId="a5ce4c93dcdbffd9" providerId="LiveId" clId="{9C2C8241-FBD3-42CB-A7CA-86B0343B6838}" dt="2021-12-09T14:30:12.597" v="5669" actId="1076"/>
          <ac:graphicFrameMkLst>
            <pc:docMk/>
            <pc:sldMk cId="3186953294" sldId="289"/>
            <ac:graphicFrameMk id="36" creationId="{03FAC58E-EC8A-4EF1-9DA9-E3C286C810DA}"/>
          </ac:graphicFrameMkLst>
        </pc:graphicFrameChg>
        <pc:picChg chg="del">
          <ac:chgData name="Magnus Lütt" userId="a5ce4c93dcdbffd9" providerId="LiveId" clId="{9C2C8241-FBD3-42CB-A7CA-86B0343B6838}" dt="2021-12-09T11:37:45.151" v="3308" actId="478"/>
          <ac:picMkLst>
            <pc:docMk/>
            <pc:sldMk cId="3186953294" sldId="289"/>
            <ac:picMk id="3" creationId="{8A68A9BF-08C2-4BF6-BC17-EFAA77FBB610}"/>
          </ac:picMkLst>
        </pc:picChg>
        <pc:picChg chg="mod modCrop">
          <ac:chgData name="Magnus Lütt" userId="a5ce4c93dcdbffd9" providerId="LiveId" clId="{9C2C8241-FBD3-42CB-A7CA-86B0343B6838}" dt="2021-12-09T14:33:13.978" v="5850" actId="1076"/>
          <ac:picMkLst>
            <pc:docMk/>
            <pc:sldMk cId="3186953294" sldId="289"/>
            <ac:picMk id="41" creationId="{6EBF7D24-FF74-4177-AF08-F88C11FF4A7D}"/>
          </ac:picMkLst>
        </pc:picChg>
      </pc:sldChg>
      <pc:sldChg chg="addSp delSp modSp add mod">
        <pc:chgData name="Magnus Lütt" userId="a5ce4c93dcdbffd9" providerId="LiveId" clId="{9C2C8241-FBD3-42CB-A7CA-86B0343B6838}" dt="2021-12-09T15:37:43.667" v="7273" actId="20577"/>
        <pc:sldMkLst>
          <pc:docMk/>
          <pc:sldMk cId="350802169" sldId="290"/>
        </pc:sldMkLst>
        <pc:spChg chg="add del mod">
          <ac:chgData name="Magnus Lütt" userId="a5ce4c93dcdbffd9" providerId="LiveId" clId="{9C2C8241-FBD3-42CB-A7CA-86B0343B6838}" dt="2021-12-09T11:44:06.177" v="3489" actId="478"/>
          <ac:spMkLst>
            <pc:docMk/>
            <pc:sldMk cId="350802169" sldId="290"/>
            <ac:spMk id="2" creationId="{E08FBCB3-576F-4C0F-A3FF-7AFDC9F80B2C}"/>
          </ac:spMkLst>
        </pc:spChg>
        <pc:spChg chg="mod">
          <ac:chgData name="Magnus Lütt" userId="a5ce4c93dcdbffd9" providerId="LiveId" clId="{9C2C8241-FBD3-42CB-A7CA-86B0343B6838}" dt="2021-12-09T15:01:00.219" v="6547" actId="20577"/>
          <ac:spMkLst>
            <pc:docMk/>
            <pc:sldMk cId="350802169" sldId="290"/>
            <ac:spMk id="31" creationId="{A466A1C1-91D2-4A97-9680-0017B452BB8D}"/>
          </ac:spMkLst>
        </pc:spChg>
        <pc:spChg chg="mod">
          <ac:chgData name="Magnus Lütt" userId="a5ce4c93dcdbffd9" providerId="LiveId" clId="{9C2C8241-FBD3-42CB-A7CA-86B0343B6838}" dt="2021-12-09T15:37:43.667" v="7273" actId="20577"/>
          <ac:spMkLst>
            <pc:docMk/>
            <pc:sldMk cId="350802169" sldId="290"/>
            <ac:spMk id="34" creationId="{554F38FF-5779-4B65-9AB8-431BA11D243D}"/>
          </ac:spMkLst>
        </pc:spChg>
        <pc:graphicFrameChg chg="add mod">
          <ac:chgData name="Magnus Lütt" userId="a5ce4c93dcdbffd9" providerId="LiveId" clId="{9C2C8241-FBD3-42CB-A7CA-86B0343B6838}" dt="2021-12-09T15:16:29.187" v="6634" actId="14100"/>
          <ac:graphicFrameMkLst>
            <pc:docMk/>
            <pc:sldMk cId="350802169" sldId="290"/>
            <ac:graphicFrameMk id="15" creationId="{0641625E-AEFE-4C93-99CF-C8C14A4DB223}"/>
          </ac:graphicFrameMkLst>
        </pc:graphicFrameChg>
        <pc:graphicFrameChg chg="add mod">
          <ac:chgData name="Magnus Lütt" userId="a5ce4c93dcdbffd9" providerId="LiveId" clId="{9C2C8241-FBD3-42CB-A7CA-86B0343B6838}" dt="2021-12-09T15:16:53.094" v="6640" actId="14100"/>
          <ac:graphicFrameMkLst>
            <pc:docMk/>
            <pc:sldMk cId="350802169" sldId="290"/>
            <ac:graphicFrameMk id="16" creationId="{58478CC8-2813-425E-99AC-AD5306B206C4}"/>
          </ac:graphicFrameMkLst>
        </pc:graphicFrameChg>
        <pc:graphicFrameChg chg="add del mod">
          <ac:chgData name="Magnus Lütt" userId="a5ce4c93dcdbffd9" providerId="LiveId" clId="{9C2C8241-FBD3-42CB-A7CA-86B0343B6838}" dt="2021-12-09T15:16:37.965" v="6635" actId="478"/>
          <ac:graphicFrameMkLst>
            <pc:docMk/>
            <pc:sldMk cId="350802169" sldId="290"/>
            <ac:graphicFrameMk id="17" creationId="{12CFF92B-4C30-49B2-B718-EBC61C2DE5DC}"/>
          </ac:graphicFrameMkLst>
        </pc:graphicFrameChg>
        <pc:graphicFrameChg chg="add del mod">
          <ac:chgData name="Magnus Lütt" userId="a5ce4c93dcdbffd9" providerId="LiveId" clId="{9C2C8241-FBD3-42CB-A7CA-86B0343B6838}" dt="2021-12-09T15:16:57.952" v="6641" actId="478"/>
          <ac:graphicFrameMkLst>
            <pc:docMk/>
            <pc:sldMk cId="350802169" sldId="290"/>
            <ac:graphicFrameMk id="18" creationId="{CA7B1026-E40E-4EBD-B69F-2155B7F9AD7B}"/>
          </ac:graphicFrameMkLst>
        </pc:graphicFrameChg>
        <pc:graphicFrameChg chg="del">
          <ac:chgData name="Magnus Lütt" userId="a5ce4c93dcdbffd9" providerId="LiveId" clId="{9C2C8241-FBD3-42CB-A7CA-86B0343B6838}" dt="2021-12-09T11:42:37.011" v="3459" actId="478"/>
          <ac:graphicFrameMkLst>
            <pc:docMk/>
            <pc:sldMk cId="350802169" sldId="290"/>
            <ac:graphicFrameMk id="22" creationId="{0641625E-AEFE-4C93-99CF-C8C14A4DB223}"/>
          </ac:graphicFrameMkLst>
        </pc:graphicFrameChg>
        <pc:graphicFrameChg chg="del">
          <ac:chgData name="Magnus Lütt" userId="a5ce4c93dcdbffd9" providerId="LiveId" clId="{9C2C8241-FBD3-42CB-A7CA-86B0343B6838}" dt="2021-12-09T11:44:50.972" v="3510" actId="478"/>
          <ac:graphicFrameMkLst>
            <pc:docMk/>
            <pc:sldMk cId="350802169" sldId="290"/>
            <ac:graphicFrameMk id="23" creationId="{58478CC8-2813-425E-99AC-AD5306B206C4}"/>
          </ac:graphicFrameMkLst>
        </pc:graphicFrameChg>
      </pc:sldChg>
      <pc:sldChg chg="addSp delSp modSp add mod modNotesTx">
        <pc:chgData name="Magnus Lütt" userId="a5ce4c93dcdbffd9" providerId="LiveId" clId="{9C2C8241-FBD3-42CB-A7CA-86B0343B6838}" dt="2021-12-09T15:53:56.959" v="7364" actId="1076"/>
        <pc:sldMkLst>
          <pc:docMk/>
          <pc:sldMk cId="2604046101" sldId="291"/>
        </pc:sldMkLst>
        <pc:spChg chg="mod">
          <ac:chgData name="Magnus Lütt" userId="a5ce4c93dcdbffd9" providerId="LiveId" clId="{9C2C8241-FBD3-42CB-A7CA-86B0343B6838}" dt="2021-12-09T11:49:22.474" v="3711" actId="20577"/>
          <ac:spMkLst>
            <pc:docMk/>
            <pc:sldMk cId="2604046101" sldId="291"/>
            <ac:spMk id="4" creationId="{00000000-0000-0000-0000-000000000000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6" creationId="{CF7567E8-5B0B-462E-999F-7BAE2F6D446C}"/>
          </ac:spMkLst>
        </pc:spChg>
        <pc:spChg chg="del">
          <ac:chgData name="Magnus Lütt" userId="a5ce4c93dcdbffd9" providerId="LiveId" clId="{9C2C8241-FBD3-42CB-A7CA-86B0343B6838}" dt="2021-12-09T11:50:22.551" v="3716" actId="478"/>
          <ac:spMkLst>
            <pc:docMk/>
            <pc:sldMk cId="2604046101" sldId="291"/>
            <ac:spMk id="9" creationId="{0E60E1D2-F200-47DC-BD0E-448DCC68BD21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10" creationId="{5FF19E6B-2E74-4FCF-A534-B686E2497BD9}"/>
          </ac:spMkLst>
        </pc:spChg>
        <pc:spChg chg="add del mod">
          <ac:chgData name="Magnus Lütt" userId="a5ce4c93dcdbffd9" providerId="LiveId" clId="{9C2C8241-FBD3-42CB-A7CA-86B0343B6838}" dt="2021-12-09T15:52:07.346" v="7325" actId="478"/>
          <ac:spMkLst>
            <pc:docMk/>
            <pc:sldMk cId="2604046101" sldId="291"/>
            <ac:spMk id="11" creationId="{DA4A1B93-7CCD-4901-B725-AF274CF41EA5}"/>
          </ac:spMkLst>
        </pc:spChg>
        <pc:spChg chg="add mod">
          <ac:chgData name="Magnus Lütt" userId="a5ce4c93dcdbffd9" providerId="LiveId" clId="{9C2C8241-FBD3-42CB-A7CA-86B0343B6838}" dt="2021-12-09T15:53:37.727" v="7357" actId="14100"/>
          <ac:spMkLst>
            <pc:docMk/>
            <pc:sldMk cId="2604046101" sldId="291"/>
            <ac:spMk id="12" creationId="{9B049225-817F-44E2-979E-9F089898D70F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17" creationId="{3D9CB7E8-677E-4AC4-B8C3-0209BF7BD3AF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18" creationId="{3107109F-31D1-4D37-8387-0931C201ADB3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19" creationId="{05EA5C8C-07C5-476D-831C-292C8F65C247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20" creationId="{914A22B2-49AF-48AE-A767-9D75030DD0A8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21" creationId="{A9E4AA99-4A93-4C0D-AD69-FF7E1CE03C7E}"/>
          </ac:spMkLst>
        </pc:spChg>
        <pc:spChg chg="mod">
          <ac:chgData name="Magnus Lütt" userId="a5ce4c93dcdbffd9" providerId="LiveId" clId="{9C2C8241-FBD3-42CB-A7CA-86B0343B6838}" dt="2021-12-09T12:35:10.527" v="4180" actId="20577"/>
          <ac:spMkLst>
            <pc:docMk/>
            <pc:sldMk cId="2604046101" sldId="291"/>
            <ac:spMk id="31" creationId="{A466A1C1-91D2-4A97-9680-0017B452BB8D}"/>
          </ac:spMkLst>
        </pc:spChg>
        <pc:spChg chg="mod">
          <ac:chgData name="Magnus Lütt" userId="a5ce4c93dcdbffd9" providerId="LiveId" clId="{9C2C8241-FBD3-42CB-A7CA-86B0343B6838}" dt="2021-12-09T15:25:51.823" v="6859" actId="20577"/>
          <ac:spMkLst>
            <pc:docMk/>
            <pc:sldMk cId="2604046101" sldId="291"/>
            <ac:spMk id="34" creationId="{554F38FF-5779-4B65-9AB8-431BA11D243D}"/>
          </ac:spMkLst>
        </pc:spChg>
        <pc:spChg chg="del">
          <ac:chgData name="Magnus Lütt" userId="a5ce4c93dcdbffd9" providerId="LiveId" clId="{9C2C8241-FBD3-42CB-A7CA-86B0343B6838}" dt="2021-12-09T11:50:22.551" v="3716" actId="478"/>
          <ac:spMkLst>
            <pc:docMk/>
            <pc:sldMk cId="2604046101" sldId="291"/>
            <ac:spMk id="37" creationId="{84E330E3-60B1-41FF-9B7D-06196B7F9956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38" creationId="{8DAF3C3A-DECF-4546-B97B-F0AF0F427626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39" creationId="{B43698C0-BCA4-43B6-BEFF-EED5E34C873B}"/>
          </ac:spMkLst>
        </pc:spChg>
        <pc:spChg chg="del">
          <ac:chgData name="Magnus Lütt" userId="a5ce4c93dcdbffd9" providerId="LiveId" clId="{9C2C8241-FBD3-42CB-A7CA-86B0343B6838}" dt="2021-12-09T11:50:21.436" v="3715" actId="478"/>
          <ac:spMkLst>
            <pc:docMk/>
            <pc:sldMk cId="2604046101" sldId="291"/>
            <ac:spMk id="40" creationId="{03E5F0DA-DC59-4B50-9013-359C79C28703}"/>
          </ac:spMkLst>
        </pc:spChg>
        <pc:spChg chg="add mod">
          <ac:chgData name="Magnus Lütt" userId="a5ce4c93dcdbffd9" providerId="LiveId" clId="{9C2C8241-FBD3-42CB-A7CA-86B0343B6838}" dt="2021-12-09T11:54:57.670" v="3781" actId="1037"/>
          <ac:spMkLst>
            <pc:docMk/>
            <pc:sldMk cId="2604046101" sldId="291"/>
            <ac:spMk id="41" creationId="{741609F1-1E8B-4551-9B7C-AA5F60F92BD9}"/>
          </ac:spMkLst>
        </pc:spChg>
        <pc:spChg chg="add mod">
          <ac:chgData name="Magnus Lütt" userId="a5ce4c93dcdbffd9" providerId="LiveId" clId="{9C2C8241-FBD3-42CB-A7CA-86B0343B6838}" dt="2021-12-09T12:35:16.651" v="4182" actId="1076"/>
          <ac:spMkLst>
            <pc:docMk/>
            <pc:sldMk cId="2604046101" sldId="291"/>
            <ac:spMk id="42" creationId="{81730BB2-45CB-4552-8A34-3181A0E3E2CC}"/>
          </ac:spMkLst>
        </pc:spChg>
        <pc:spChg chg="add mod">
          <ac:chgData name="Magnus Lütt" userId="a5ce4c93dcdbffd9" providerId="LiveId" clId="{9C2C8241-FBD3-42CB-A7CA-86B0343B6838}" dt="2021-12-09T12:35:29.067" v="4188" actId="1076"/>
          <ac:spMkLst>
            <pc:docMk/>
            <pc:sldMk cId="2604046101" sldId="291"/>
            <ac:spMk id="43" creationId="{43FD9AC7-CC8F-4077-933B-1804A6462122}"/>
          </ac:spMkLst>
        </pc:spChg>
        <pc:spChg chg="add mod">
          <ac:chgData name="Magnus Lütt" userId="a5ce4c93dcdbffd9" providerId="LiveId" clId="{9C2C8241-FBD3-42CB-A7CA-86B0343B6838}" dt="2021-12-09T12:35:34.446" v="4191" actId="1037"/>
          <ac:spMkLst>
            <pc:docMk/>
            <pc:sldMk cId="2604046101" sldId="291"/>
            <ac:spMk id="44" creationId="{A306F4A7-B8E6-4EC0-A0F2-C7AF70C295A5}"/>
          </ac:spMkLst>
        </pc:spChg>
        <pc:spChg chg="add del mod">
          <ac:chgData name="Magnus Lütt" userId="a5ce4c93dcdbffd9" providerId="LiveId" clId="{9C2C8241-FBD3-42CB-A7CA-86B0343B6838}" dt="2021-12-09T14:08:32.175" v="4235"/>
          <ac:spMkLst>
            <pc:docMk/>
            <pc:sldMk cId="2604046101" sldId="291"/>
            <ac:spMk id="45" creationId="{D6BD749B-7C12-445C-A7D8-7B7E396D04E2}"/>
          </ac:spMkLst>
        </pc:spChg>
        <pc:spChg chg="add del mod">
          <ac:chgData name="Magnus Lütt" userId="a5ce4c93dcdbffd9" providerId="LiveId" clId="{9C2C8241-FBD3-42CB-A7CA-86B0343B6838}" dt="2021-12-09T14:34:47.868" v="5931" actId="478"/>
          <ac:spMkLst>
            <pc:docMk/>
            <pc:sldMk cId="2604046101" sldId="291"/>
            <ac:spMk id="46" creationId="{44803C2B-812C-4819-A47E-4127295EEC6C}"/>
          </ac:spMkLst>
        </pc:spChg>
        <pc:spChg chg="add mod">
          <ac:chgData name="Magnus Lütt" userId="a5ce4c93dcdbffd9" providerId="LiveId" clId="{9C2C8241-FBD3-42CB-A7CA-86B0343B6838}" dt="2021-12-09T15:49:49.073" v="7305" actId="1076"/>
          <ac:spMkLst>
            <pc:docMk/>
            <pc:sldMk cId="2604046101" sldId="291"/>
            <ac:spMk id="47" creationId="{274C5FE0-FACB-4972-BB8C-4F6F3B7A7EEC}"/>
          </ac:spMkLst>
        </pc:spChg>
        <pc:spChg chg="add mod">
          <ac:chgData name="Magnus Lütt" userId="a5ce4c93dcdbffd9" providerId="LiveId" clId="{9C2C8241-FBD3-42CB-A7CA-86B0343B6838}" dt="2021-12-09T15:49:52.962" v="7307" actId="1076"/>
          <ac:spMkLst>
            <pc:docMk/>
            <pc:sldMk cId="2604046101" sldId="291"/>
            <ac:spMk id="48" creationId="{870DEEF1-9766-46BC-BC49-8B09DFC8541A}"/>
          </ac:spMkLst>
        </pc:spChg>
        <pc:spChg chg="add mod">
          <ac:chgData name="Magnus Lütt" userId="a5ce4c93dcdbffd9" providerId="LiveId" clId="{9C2C8241-FBD3-42CB-A7CA-86B0343B6838}" dt="2021-12-09T15:49:44.595" v="7303" actId="1076"/>
          <ac:spMkLst>
            <pc:docMk/>
            <pc:sldMk cId="2604046101" sldId="291"/>
            <ac:spMk id="49" creationId="{04F73850-D910-4E82-A163-68D07C576B58}"/>
          </ac:spMkLst>
        </pc:spChg>
        <pc:spChg chg="add mod">
          <ac:chgData name="Magnus Lütt" userId="a5ce4c93dcdbffd9" providerId="LiveId" clId="{9C2C8241-FBD3-42CB-A7CA-86B0343B6838}" dt="2021-12-09T15:50:20.489" v="7314" actId="14100"/>
          <ac:spMkLst>
            <pc:docMk/>
            <pc:sldMk cId="2604046101" sldId="291"/>
            <ac:spMk id="55" creationId="{DAFF5F8D-0CAE-42F8-8ED6-4DBFD4309A3A}"/>
          </ac:spMkLst>
        </pc:spChg>
        <pc:spChg chg="add mod">
          <ac:chgData name="Magnus Lütt" userId="a5ce4c93dcdbffd9" providerId="LiveId" clId="{9C2C8241-FBD3-42CB-A7CA-86B0343B6838}" dt="2021-12-09T15:50:11.372" v="7311" actId="14100"/>
          <ac:spMkLst>
            <pc:docMk/>
            <pc:sldMk cId="2604046101" sldId="291"/>
            <ac:spMk id="56" creationId="{9E822453-CFD5-4617-A21E-41C8C286950C}"/>
          </ac:spMkLst>
        </pc:spChg>
        <pc:spChg chg="add mod">
          <ac:chgData name="Magnus Lütt" userId="a5ce4c93dcdbffd9" providerId="LiveId" clId="{9C2C8241-FBD3-42CB-A7CA-86B0343B6838}" dt="2021-12-09T15:50:07.537" v="7309" actId="14100"/>
          <ac:spMkLst>
            <pc:docMk/>
            <pc:sldMk cId="2604046101" sldId="291"/>
            <ac:spMk id="57" creationId="{28102DA3-C394-4B82-98F5-2AA78581E774}"/>
          </ac:spMkLst>
        </pc:spChg>
        <pc:spChg chg="add mod">
          <ac:chgData name="Magnus Lütt" userId="a5ce4c93dcdbffd9" providerId="LiveId" clId="{9C2C8241-FBD3-42CB-A7CA-86B0343B6838}" dt="2021-12-09T15:50:09.238" v="7310" actId="14100"/>
          <ac:spMkLst>
            <pc:docMk/>
            <pc:sldMk cId="2604046101" sldId="291"/>
            <ac:spMk id="58" creationId="{A9968562-8D07-4A96-9D4C-7105D82F8EC7}"/>
          </ac:spMkLst>
        </pc:spChg>
        <pc:spChg chg="add del mod">
          <ac:chgData name="Magnus Lütt" userId="a5ce4c93dcdbffd9" providerId="LiveId" clId="{9C2C8241-FBD3-42CB-A7CA-86B0343B6838}" dt="2021-12-09T15:51:07.499" v="7317" actId="478"/>
          <ac:spMkLst>
            <pc:docMk/>
            <pc:sldMk cId="2604046101" sldId="291"/>
            <ac:spMk id="59" creationId="{19045D5C-D563-4B48-97A2-1739108A4A05}"/>
          </ac:spMkLst>
        </pc:spChg>
        <pc:spChg chg="add del mod">
          <ac:chgData name="Magnus Lütt" userId="a5ce4c93dcdbffd9" providerId="LiveId" clId="{9C2C8241-FBD3-42CB-A7CA-86B0343B6838}" dt="2021-12-09T15:53:40.056" v="7358" actId="478"/>
          <ac:spMkLst>
            <pc:docMk/>
            <pc:sldMk cId="2604046101" sldId="291"/>
            <ac:spMk id="60" creationId="{91E4F4D4-8421-45E0-A9AA-B6DA2DB56783}"/>
          </ac:spMkLst>
        </pc:spChg>
        <pc:spChg chg="add del mod">
          <ac:chgData name="Magnus Lütt" userId="a5ce4c93dcdbffd9" providerId="LiveId" clId="{9C2C8241-FBD3-42CB-A7CA-86B0343B6838}" dt="2021-12-09T15:52:33.902" v="7338" actId="478"/>
          <ac:spMkLst>
            <pc:docMk/>
            <pc:sldMk cId="2604046101" sldId="291"/>
            <ac:spMk id="61" creationId="{9823AC2B-EA95-4B76-83DB-A6DD02D52718}"/>
          </ac:spMkLst>
        </pc:spChg>
        <pc:spChg chg="add del mod">
          <ac:chgData name="Magnus Lütt" userId="a5ce4c93dcdbffd9" providerId="LiveId" clId="{9C2C8241-FBD3-42CB-A7CA-86B0343B6838}" dt="2021-12-09T15:52:32.151" v="7336" actId="478"/>
          <ac:spMkLst>
            <pc:docMk/>
            <pc:sldMk cId="2604046101" sldId="291"/>
            <ac:spMk id="62" creationId="{6052647E-6DE8-482F-98CB-25B2686FDD5C}"/>
          </ac:spMkLst>
        </pc:spChg>
        <pc:spChg chg="add del mod">
          <ac:chgData name="Magnus Lütt" userId="a5ce4c93dcdbffd9" providerId="LiveId" clId="{9C2C8241-FBD3-42CB-A7CA-86B0343B6838}" dt="2021-12-09T15:52:33.089" v="7337" actId="478"/>
          <ac:spMkLst>
            <pc:docMk/>
            <pc:sldMk cId="2604046101" sldId="291"/>
            <ac:spMk id="63" creationId="{49F13F38-F42B-4C3D-AE17-58AA458D2D89}"/>
          </ac:spMkLst>
        </pc:spChg>
        <pc:spChg chg="add del mod">
          <ac:chgData name="Magnus Lütt" userId="a5ce4c93dcdbffd9" providerId="LiveId" clId="{9C2C8241-FBD3-42CB-A7CA-86B0343B6838}" dt="2021-12-09T15:53:41.087" v="7359" actId="478"/>
          <ac:spMkLst>
            <pc:docMk/>
            <pc:sldMk cId="2604046101" sldId="291"/>
            <ac:spMk id="64" creationId="{59930FDE-157C-4E9A-99B6-A33086AAEED3}"/>
          </ac:spMkLst>
        </pc:spChg>
        <pc:spChg chg="add del mod">
          <ac:chgData name="Magnus Lütt" userId="a5ce4c93dcdbffd9" providerId="LiveId" clId="{9C2C8241-FBD3-42CB-A7CA-86B0343B6838}" dt="2021-12-09T15:53:43.727" v="7360" actId="478"/>
          <ac:spMkLst>
            <pc:docMk/>
            <pc:sldMk cId="2604046101" sldId="291"/>
            <ac:spMk id="65" creationId="{5ABB3E5B-EE64-4A2D-832B-61FD1FF8F6A2}"/>
          </ac:spMkLst>
        </pc:spChg>
        <pc:spChg chg="add del mod">
          <ac:chgData name="Magnus Lütt" userId="a5ce4c93dcdbffd9" providerId="LiveId" clId="{9C2C8241-FBD3-42CB-A7CA-86B0343B6838}" dt="2021-12-09T15:53:45.867" v="7361" actId="478"/>
          <ac:spMkLst>
            <pc:docMk/>
            <pc:sldMk cId="2604046101" sldId="291"/>
            <ac:spMk id="66" creationId="{82189992-FFCF-4292-ABBD-89CAA8C317B8}"/>
          </ac:spMkLst>
        </pc:spChg>
        <pc:spChg chg="add mod">
          <ac:chgData name="Magnus Lütt" userId="a5ce4c93dcdbffd9" providerId="LiveId" clId="{9C2C8241-FBD3-42CB-A7CA-86B0343B6838}" dt="2021-12-09T15:53:56.959" v="7364" actId="1076"/>
          <ac:spMkLst>
            <pc:docMk/>
            <pc:sldMk cId="2604046101" sldId="291"/>
            <ac:spMk id="67" creationId="{8590AB24-321B-41B8-AA32-1B66E3F5A889}"/>
          </ac:spMkLst>
        </pc:spChg>
        <pc:grpChg chg="del">
          <ac:chgData name="Magnus Lütt" userId="a5ce4c93dcdbffd9" providerId="LiveId" clId="{9C2C8241-FBD3-42CB-A7CA-86B0343B6838}" dt="2021-12-09T11:50:21.436" v="3715" actId="478"/>
          <ac:grpSpMkLst>
            <pc:docMk/>
            <pc:sldMk cId="2604046101" sldId="291"/>
            <ac:grpSpMk id="25" creationId="{B1C7BC82-9D74-4703-99A8-B7125555B5AD}"/>
          </ac:grpSpMkLst>
        </pc:grpChg>
        <pc:grpChg chg="add del mod">
          <ac:chgData name="Magnus Lütt" userId="a5ce4c93dcdbffd9" providerId="LiveId" clId="{9C2C8241-FBD3-42CB-A7CA-86B0343B6838}" dt="2021-12-09T14:34:33.213" v="5924" actId="478"/>
          <ac:grpSpMkLst>
            <pc:docMk/>
            <pc:sldMk cId="2604046101" sldId="291"/>
            <ac:grpSpMk id="50" creationId="{5AEF0124-6B96-49CC-A251-907A0A650BAC}"/>
          </ac:grpSpMkLst>
        </pc:grpChg>
        <pc:picChg chg="del">
          <ac:chgData name="Magnus Lütt" userId="a5ce4c93dcdbffd9" providerId="LiveId" clId="{9C2C8241-FBD3-42CB-A7CA-86B0343B6838}" dt="2021-12-09T11:50:18.599" v="3714" actId="478"/>
          <ac:picMkLst>
            <pc:docMk/>
            <pc:sldMk cId="2604046101" sldId="291"/>
            <ac:picMk id="3" creationId="{8A68A9BF-08C2-4BF6-BC17-EFAA77FBB610}"/>
          </ac:picMkLst>
        </pc:picChg>
        <pc:picChg chg="add mod ord">
          <ac:chgData name="Magnus Lütt" userId="a5ce4c93dcdbffd9" providerId="LiveId" clId="{9C2C8241-FBD3-42CB-A7CA-86B0343B6838}" dt="2021-12-09T15:53:25.650" v="7352" actId="1076"/>
          <ac:picMkLst>
            <pc:docMk/>
            <pc:sldMk cId="2604046101" sldId="291"/>
            <ac:picMk id="5" creationId="{D587B701-916D-406C-9AB9-013AEE94F9DF}"/>
          </ac:picMkLst>
        </pc:picChg>
        <pc:picChg chg="add del mod">
          <ac:chgData name="Magnus Lütt" userId="a5ce4c93dcdbffd9" providerId="LiveId" clId="{9C2C8241-FBD3-42CB-A7CA-86B0343B6838}" dt="2021-12-09T11:54:37.339" v="3774" actId="478"/>
          <ac:picMkLst>
            <pc:docMk/>
            <pc:sldMk cId="2604046101" sldId="291"/>
            <ac:picMk id="36" creationId="{CFBD7331-8BF6-4647-A9C8-39DDCB1A4206}"/>
          </ac:picMkLst>
        </pc:picChg>
        <pc:cxnChg chg="add del mod topLvl">
          <ac:chgData name="Magnus Lütt" userId="a5ce4c93dcdbffd9" providerId="LiveId" clId="{9C2C8241-FBD3-42CB-A7CA-86B0343B6838}" dt="2021-12-09T14:34:53.903" v="5932" actId="478"/>
          <ac:cxnSpMkLst>
            <pc:docMk/>
            <pc:sldMk cId="2604046101" sldId="291"/>
            <ac:cxnSpMk id="51" creationId="{4D3724BD-8C10-4741-9A9B-9D0DAA107D24}"/>
          </ac:cxnSpMkLst>
        </pc:cxnChg>
        <pc:cxnChg chg="del mod">
          <ac:chgData name="Magnus Lütt" userId="a5ce4c93dcdbffd9" providerId="LiveId" clId="{9C2C8241-FBD3-42CB-A7CA-86B0343B6838}" dt="2021-12-09T14:34:31.712" v="5923" actId="478"/>
          <ac:cxnSpMkLst>
            <pc:docMk/>
            <pc:sldMk cId="2604046101" sldId="291"/>
            <ac:cxnSpMk id="52" creationId="{C85D4291-AD42-484E-A283-FDD697197B94}"/>
          </ac:cxnSpMkLst>
        </pc:cxnChg>
        <pc:cxnChg chg="del mod topLvl">
          <ac:chgData name="Magnus Lütt" userId="a5ce4c93dcdbffd9" providerId="LiveId" clId="{9C2C8241-FBD3-42CB-A7CA-86B0343B6838}" dt="2021-12-09T14:34:33.213" v="5924" actId="478"/>
          <ac:cxnSpMkLst>
            <pc:docMk/>
            <pc:sldMk cId="2604046101" sldId="291"/>
            <ac:cxnSpMk id="53" creationId="{8B5F7821-42F8-4A15-9AF9-175C7DAADA79}"/>
          </ac:cxnSpMkLst>
        </pc:cxnChg>
        <pc:cxnChg chg="del mod">
          <ac:chgData name="Magnus Lütt" userId="a5ce4c93dcdbffd9" providerId="LiveId" clId="{9C2C8241-FBD3-42CB-A7CA-86B0343B6838}" dt="2021-12-09T14:34:29.807" v="5922" actId="478"/>
          <ac:cxnSpMkLst>
            <pc:docMk/>
            <pc:sldMk cId="2604046101" sldId="291"/>
            <ac:cxnSpMk id="54" creationId="{65C5C078-E1AB-4894-9E08-8EBF7630903B}"/>
          </ac:cxnSpMkLst>
        </pc:cxnChg>
      </pc:sldChg>
      <pc:sldChg chg="addSp delSp modSp add del mod">
        <pc:chgData name="Magnus Lütt" userId="a5ce4c93dcdbffd9" providerId="LiveId" clId="{9C2C8241-FBD3-42CB-A7CA-86B0343B6838}" dt="2021-12-09T16:05:01.409" v="7726" actId="47"/>
        <pc:sldMkLst>
          <pc:docMk/>
          <pc:sldMk cId="1701496109" sldId="292"/>
        </pc:sldMkLst>
        <pc:picChg chg="add del mod ord">
          <ac:chgData name="Magnus Lütt" userId="a5ce4c93dcdbffd9" providerId="LiveId" clId="{9C2C8241-FBD3-42CB-A7CA-86B0343B6838}" dt="2021-12-09T11:53:16.951" v="3762" actId="478"/>
          <ac:picMkLst>
            <pc:docMk/>
            <pc:sldMk cId="1701496109" sldId="292"/>
            <ac:picMk id="6" creationId="{04623D11-FC01-4A5A-8FCB-D281BD05ABCC}"/>
          </ac:picMkLst>
        </pc:picChg>
        <pc:picChg chg="del mod ord modCrop">
          <ac:chgData name="Magnus Lütt" userId="a5ce4c93dcdbffd9" providerId="LiveId" clId="{9C2C8241-FBD3-42CB-A7CA-86B0343B6838}" dt="2021-12-09T11:53:24.496" v="3763" actId="21"/>
          <ac:picMkLst>
            <pc:docMk/>
            <pc:sldMk cId="1701496109" sldId="292"/>
            <ac:picMk id="7" creationId="{3E54AEC3-A3B9-4388-823C-405B45CB4150}"/>
          </ac:picMkLst>
        </pc:picChg>
      </pc:sldChg>
      <pc:sldChg chg="addSp delSp modSp add mod">
        <pc:chgData name="Magnus Lütt" userId="a5ce4c93dcdbffd9" providerId="LiveId" clId="{9C2C8241-FBD3-42CB-A7CA-86B0343B6838}" dt="2021-12-09T20:52:17.294" v="8549" actId="1035"/>
        <pc:sldMkLst>
          <pc:docMk/>
          <pc:sldMk cId="1203932121" sldId="293"/>
        </pc:sldMkLst>
        <pc:spChg chg="add mod">
          <ac:chgData name="Magnus Lütt" userId="a5ce4c93dcdbffd9" providerId="LiveId" clId="{9C2C8241-FBD3-42CB-A7CA-86B0343B6838}" dt="2021-12-09T20:52:17.294" v="8549" actId="1035"/>
          <ac:spMkLst>
            <pc:docMk/>
            <pc:sldMk cId="1203932121" sldId="293"/>
            <ac:spMk id="11" creationId="{FB528C6B-E375-4083-A6BD-75EA86CFA2C1}"/>
          </ac:spMkLst>
        </pc:spChg>
        <pc:spChg chg="mod">
          <ac:chgData name="Magnus Lütt" userId="a5ce4c93dcdbffd9" providerId="LiveId" clId="{9C2C8241-FBD3-42CB-A7CA-86B0343B6838}" dt="2021-12-09T20:51:02.505" v="8514" actId="20577"/>
          <ac:spMkLst>
            <pc:docMk/>
            <pc:sldMk cId="1203932121" sldId="293"/>
            <ac:spMk id="13" creationId="{22FB99B1-2F9F-453A-8041-DC1FC76D5B17}"/>
          </ac:spMkLst>
        </pc:spChg>
        <pc:spChg chg="mod">
          <ac:chgData name="Magnus Lütt" userId="a5ce4c93dcdbffd9" providerId="LiveId" clId="{9C2C8241-FBD3-42CB-A7CA-86B0343B6838}" dt="2021-12-09T20:52:10.185" v="8547" actId="1076"/>
          <ac:spMkLst>
            <pc:docMk/>
            <pc:sldMk cId="1203932121" sldId="293"/>
            <ac:spMk id="14" creationId="{32D7C16F-9C7A-468A-A9DD-2DD3AD9B157B}"/>
          </ac:spMkLst>
        </pc:spChg>
        <pc:spChg chg="add mod">
          <ac:chgData name="Magnus Lütt" userId="a5ce4c93dcdbffd9" providerId="LiveId" clId="{9C2C8241-FBD3-42CB-A7CA-86B0343B6838}" dt="2021-12-09T14:29:38.992" v="5663"/>
          <ac:spMkLst>
            <pc:docMk/>
            <pc:sldMk cId="1203932121" sldId="293"/>
            <ac:spMk id="17" creationId="{797B4FDB-1AB6-4F19-9B53-F4A8A1D2C610}"/>
          </ac:spMkLst>
        </pc:spChg>
        <pc:spChg chg="mod">
          <ac:chgData name="Magnus Lütt" userId="a5ce4c93dcdbffd9" providerId="LiveId" clId="{9C2C8241-FBD3-42CB-A7CA-86B0343B6838}" dt="2021-12-09T20:52:06.790" v="8546" actId="1076"/>
          <ac:spMkLst>
            <pc:docMk/>
            <pc:sldMk cId="1203932121" sldId="293"/>
            <ac:spMk id="21" creationId="{B2BA1760-6A64-47B2-8BB3-F326CBA0F0CA}"/>
          </ac:spMkLst>
        </pc:spChg>
        <pc:spChg chg="del">
          <ac:chgData name="Magnus Lütt" userId="a5ce4c93dcdbffd9" providerId="LiveId" clId="{9C2C8241-FBD3-42CB-A7CA-86B0343B6838}" dt="2021-12-09T14:29:38.658" v="5662" actId="478"/>
          <ac:spMkLst>
            <pc:docMk/>
            <pc:sldMk cId="1203932121" sldId="293"/>
            <ac:spMk id="22" creationId="{014CFBE1-FAA7-411B-BE73-345314732272}"/>
          </ac:spMkLst>
        </pc:spChg>
        <pc:spChg chg="mod">
          <ac:chgData name="Magnus Lütt" userId="a5ce4c93dcdbffd9" providerId="LiveId" clId="{9C2C8241-FBD3-42CB-A7CA-86B0343B6838}" dt="2021-12-09T20:47:05.329" v="8453" actId="1076"/>
          <ac:spMkLst>
            <pc:docMk/>
            <pc:sldMk cId="1203932121" sldId="293"/>
            <ac:spMk id="23" creationId="{D778740E-EFE8-4E4A-A591-1AD375840DFA}"/>
          </ac:spMkLst>
        </pc:spChg>
        <pc:picChg chg="add mod">
          <ac:chgData name="Magnus Lütt" userId="a5ce4c93dcdbffd9" providerId="LiveId" clId="{9C2C8241-FBD3-42CB-A7CA-86B0343B6838}" dt="2021-12-09T14:29:41.639" v="5664"/>
          <ac:picMkLst>
            <pc:docMk/>
            <pc:sldMk cId="1203932121" sldId="293"/>
            <ac:picMk id="18" creationId="{0A2B12FB-A35A-4BEC-96C6-FD0A61AD125F}"/>
          </ac:picMkLst>
        </pc:picChg>
      </pc:sldChg>
      <pc:sldChg chg="addSp modSp new del">
        <pc:chgData name="Magnus Lütt" userId="a5ce4c93dcdbffd9" providerId="LiveId" clId="{9C2C8241-FBD3-42CB-A7CA-86B0343B6838}" dt="2021-12-09T20:08:26.619" v="7847" actId="47"/>
        <pc:sldMkLst>
          <pc:docMk/>
          <pc:sldMk cId="1256756999" sldId="294"/>
        </pc:sldMkLst>
        <pc:spChg chg="add mod">
          <ac:chgData name="Magnus Lütt" userId="a5ce4c93dcdbffd9" providerId="LiveId" clId="{9C2C8241-FBD3-42CB-A7CA-86B0343B6838}" dt="2021-12-09T20:08:24.269" v="7846"/>
          <ac:spMkLst>
            <pc:docMk/>
            <pc:sldMk cId="1256756999" sldId="294"/>
            <ac:spMk id="4" creationId="{CE6606D7-994B-46E6-BF4A-351D6A7F988C}"/>
          </ac:spMkLst>
        </pc:spChg>
      </pc:sldChg>
      <pc:sldChg chg="addSp delSp modSp add mod">
        <pc:chgData name="Magnus Lütt" userId="a5ce4c93dcdbffd9" providerId="LiveId" clId="{9C2C8241-FBD3-42CB-A7CA-86B0343B6838}" dt="2021-12-09T20:57:16.078" v="8552"/>
        <pc:sldMkLst>
          <pc:docMk/>
          <pc:sldMk cId="4166229546" sldId="294"/>
        </pc:sldMkLst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6" creationId="{CF7567E8-5B0B-462E-999F-7BAE2F6D446C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9" creationId="{0E60E1D2-F200-47DC-BD0E-448DCC68BD21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10" creationId="{5FF19E6B-2E74-4FCF-A534-B686E2497BD9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17" creationId="{3D9CB7E8-677E-4AC4-B8C3-0209BF7BD3AF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18" creationId="{3107109F-31D1-4D37-8387-0931C201ADB3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19" creationId="{05EA5C8C-07C5-476D-831C-292C8F65C247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20" creationId="{914A22B2-49AF-48AE-A767-9D75030DD0A8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21" creationId="{A9E4AA99-4A93-4C0D-AD69-FF7E1CE03C7E}"/>
          </ac:spMkLst>
        </pc:spChg>
        <pc:spChg chg="mod">
          <ac:chgData name="Magnus Lütt" userId="a5ce4c93dcdbffd9" providerId="LiveId" clId="{9C2C8241-FBD3-42CB-A7CA-86B0343B6838}" dt="2021-12-09T20:42:16.730" v="8401" actId="20577"/>
          <ac:spMkLst>
            <pc:docMk/>
            <pc:sldMk cId="4166229546" sldId="294"/>
            <ac:spMk id="31" creationId="{A466A1C1-91D2-4A97-9680-0017B452BB8D}"/>
          </ac:spMkLst>
        </pc:spChg>
        <pc:spChg chg="mod">
          <ac:chgData name="Magnus Lütt" userId="a5ce4c93dcdbffd9" providerId="LiveId" clId="{9C2C8241-FBD3-42CB-A7CA-86B0343B6838}" dt="2021-12-09T20:45:22.587" v="8419" actId="20577"/>
          <ac:spMkLst>
            <pc:docMk/>
            <pc:sldMk cId="4166229546" sldId="294"/>
            <ac:spMk id="34" creationId="{554F38FF-5779-4B65-9AB8-431BA11D243D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37" creationId="{84E330E3-60B1-41FF-9B7D-06196B7F9956}"/>
          </ac:spMkLst>
        </pc:spChg>
        <pc:spChg chg="add mod">
          <ac:chgData name="Magnus Lütt" userId="a5ce4c93dcdbffd9" providerId="LiveId" clId="{9C2C8241-FBD3-42CB-A7CA-86B0343B6838}" dt="2021-12-09T20:45:03.221" v="8416" actId="1076"/>
          <ac:spMkLst>
            <pc:docMk/>
            <pc:sldMk cId="4166229546" sldId="294"/>
            <ac:spMk id="40" creationId="{42248D91-AC00-4E9C-97B2-8ADA5F1C5DA4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42" creationId="{AAFD7539-43D8-416E-AE32-DAC912FFE596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43" creationId="{317D7B4C-DC4F-42FF-8EA6-59A90C483D96}"/>
          </ac:spMkLst>
        </pc:spChg>
        <pc:spChg chg="del">
          <ac:chgData name="Magnus Lütt" userId="a5ce4c93dcdbffd9" providerId="LiveId" clId="{9C2C8241-FBD3-42CB-A7CA-86B0343B6838}" dt="2021-12-09T20:12:36.733" v="7850" actId="478"/>
          <ac:spMkLst>
            <pc:docMk/>
            <pc:sldMk cId="4166229546" sldId="294"/>
            <ac:spMk id="44" creationId="{B99D5B56-3E9E-4397-B209-69DB1CC8332F}"/>
          </ac:spMkLst>
        </pc:spChg>
        <pc:grpChg chg="del">
          <ac:chgData name="Magnus Lütt" userId="a5ce4c93dcdbffd9" providerId="LiveId" clId="{9C2C8241-FBD3-42CB-A7CA-86B0343B6838}" dt="2021-12-09T20:12:36.733" v="7850" actId="478"/>
          <ac:grpSpMkLst>
            <pc:docMk/>
            <pc:sldMk cId="4166229546" sldId="294"/>
            <ac:grpSpMk id="25" creationId="{B1C7BC82-9D74-4703-99A8-B7125555B5AD}"/>
          </ac:grpSpMkLst>
        </pc:grpChg>
        <pc:graphicFrameChg chg="add mod">
          <ac:chgData name="Magnus Lütt" userId="a5ce4c93dcdbffd9" providerId="LiveId" clId="{9C2C8241-FBD3-42CB-A7CA-86B0343B6838}" dt="2021-12-09T20:57:16.078" v="8552"/>
          <ac:graphicFrameMkLst>
            <pc:docMk/>
            <pc:sldMk cId="4166229546" sldId="294"/>
            <ac:graphicFrameMk id="36" creationId="{C86EC46C-C8FF-4E75-BFC2-DFAB5D5339DC}"/>
          </ac:graphicFrameMkLst>
        </pc:graphicFrameChg>
        <pc:graphicFrameChg chg="add mod">
          <ac:chgData name="Magnus Lütt" userId="a5ce4c93dcdbffd9" providerId="LiveId" clId="{9C2C8241-FBD3-42CB-A7CA-86B0343B6838}" dt="2021-12-09T20:41:23.631" v="8343" actId="1076"/>
          <ac:graphicFrameMkLst>
            <pc:docMk/>
            <pc:sldMk cId="4166229546" sldId="294"/>
            <ac:graphicFrameMk id="39" creationId="{713215DE-DD31-44E2-9E21-13CD2726BF61}"/>
          </ac:graphicFrameMkLst>
        </pc:graphicFrameChg>
        <pc:picChg chg="del">
          <ac:chgData name="Magnus Lütt" userId="a5ce4c93dcdbffd9" providerId="LiveId" clId="{9C2C8241-FBD3-42CB-A7CA-86B0343B6838}" dt="2021-12-09T20:12:32.563" v="7849" actId="478"/>
          <ac:picMkLst>
            <pc:docMk/>
            <pc:sldMk cId="4166229546" sldId="294"/>
            <ac:picMk id="3" creationId="{8A68A9BF-08C2-4BF6-BC17-EFAA77FBB610}"/>
          </ac:picMkLst>
        </pc:picChg>
        <pc:picChg chg="add mod">
          <ac:chgData name="Magnus Lütt" userId="a5ce4c93dcdbffd9" providerId="LiveId" clId="{9C2C8241-FBD3-42CB-A7CA-86B0343B6838}" dt="2021-12-09T20:41:23.631" v="8343" actId="1076"/>
          <ac:picMkLst>
            <pc:docMk/>
            <pc:sldMk cId="4166229546" sldId="294"/>
            <ac:picMk id="5" creationId="{644B6E1B-E13E-4F45-A50A-62BF21BCECDB}"/>
          </ac:picMkLst>
        </pc:picChg>
        <pc:picChg chg="add del mod">
          <ac:chgData name="Magnus Lütt" userId="a5ce4c93dcdbffd9" providerId="LiveId" clId="{9C2C8241-FBD3-42CB-A7CA-86B0343B6838}" dt="2021-12-09T20:32:15.580" v="7876" actId="478"/>
          <ac:picMkLst>
            <pc:docMk/>
            <pc:sldMk cId="4166229546" sldId="294"/>
            <ac:picMk id="38" creationId="{46F2315F-BBE2-4303-B422-2978712327E2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BAB796D-7682-444E-B4C4-625F17FCF6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C2C6C7-5E9F-4E52-8494-53EACFF9B1D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279900" y="0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6D5353-C4CC-4C15-B51D-AD74F6DD1DA4}" type="datetimeFigureOut">
              <a:rPr lang="en-GB" smtClean="0"/>
              <a:t>13/12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F5B2F-1D1C-4870-9B5B-295BADBAD3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156825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F6235D-3DAA-4787-9368-8B7B0E0D6A9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279900" y="10156825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A54E5C-6BFF-4C66-9B8A-A579293C39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42598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279900" y="0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BF3456-A29E-41FE-BFB7-B24F24BEE47B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71500" y="1336675"/>
            <a:ext cx="6413500" cy="3608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55650" y="5146675"/>
            <a:ext cx="6045200" cy="42100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156825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279900" y="10156825"/>
            <a:ext cx="3275013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95B543-0236-4AEE-9F15-C7CF1150485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257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B543-0236-4AEE-9F15-C7CF1150485F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0733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B543-0236-4AEE-9F15-C7CF1150485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8289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B543-0236-4AEE-9F15-C7CF1150485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9336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426970" y="3314954"/>
            <a:ext cx="161723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853943" y="5988304"/>
            <a:ext cx="1331840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3.11.2021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3.11.2021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51315" y="2459482"/>
            <a:ext cx="82764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9798538" y="2459482"/>
            <a:ext cx="82764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3.11.2021</a:t>
            </a:r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3.11.2021</a:t>
            </a:r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3.11.2021</a:t>
            </a:r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9DDE91-C3F9-4D62-934B-08938B02B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70083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9" imgW="404" imgH="405" progId="TCLayout.ActiveDocument.1">
                  <p:embed/>
                </p:oleObj>
              </mc:Choice>
              <mc:Fallback>
                <p:oleObj name="think-cell Slide" r:id="rId9" imgW="404" imgH="40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9DDE91-C3F9-4D62-934B-08938B02B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17794922" y="10051413"/>
            <a:ext cx="576699" cy="384175"/>
          </a:xfrm>
          <a:custGeom>
            <a:avLst/>
            <a:gdLst/>
            <a:ahLst/>
            <a:cxnLst/>
            <a:rect l="l" t="t" r="r" b="b"/>
            <a:pathLst>
              <a:path w="229234" h="384175">
                <a:moveTo>
                  <a:pt x="229215" y="0"/>
                </a:moveTo>
                <a:lnTo>
                  <a:pt x="6499" y="145561"/>
                </a:lnTo>
                <a:lnTo>
                  <a:pt x="988" y="145561"/>
                </a:lnTo>
                <a:lnTo>
                  <a:pt x="0" y="379373"/>
                </a:lnTo>
                <a:lnTo>
                  <a:pt x="6499" y="383615"/>
                </a:lnTo>
                <a:lnTo>
                  <a:pt x="229215" y="238054"/>
                </a:lnTo>
                <a:lnTo>
                  <a:pt x="229215" y="145561"/>
                </a:lnTo>
                <a:lnTo>
                  <a:pt x="6499" y="145561"/>
                </a:lnTo>
                <a:lnTo>
                  <a:pt x="1003" y="141966"/>
                </a:lnTo>
                <a:lnTo>
                  <a:pt x="229215" y="141966"/>
                </a:lnTo>
                <a:lnTo>
                  <a:pt x="229215" y="0"/>
                </a:lnTo>
                <a:close/>
              </a:path>
            </a:pathLst>
          </a:custGeom>
          <a:solidFill>
            <a:srgbClr val="FFBF00">
              <a:alpha val="51998"/>
            </a:srgb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k object 17"/>
          <p:cNvSpPr/>
          <p:nvPr/>
        </p:nvSpPr>
        <p:spPr>
          <a:xfrm>
            <a:off x="17250971" y="10051416"/>
            <a:ext cx="560724" cy="384175"/>
          </a:xfrm>
          <a:custGeom>
            <a:avLst/>
            <a:gdLst/>
            <a:ahLst/>
            <a:cxnLst/>
            <a:rect l="l" t="t" r="r" b="b"/>
            <a:pathLst>
              <a:path w="222884" h="384175">
                <a:moveTo>
                  <a:pt x="0" y="0"/>
                </a:moveTo>
                <a:lnTo>
                  <a:pt x="0" y="238054"/>
                </a:lnTo>
                <a:lnTo>
                  <a:pt x="222717" y="383615"/>
                </a:lnTo>
                <a:lnTo>
                  <a:pt x="222717" y="145561"/>
                </a:lnTo>
                <a:lnTo>
                  <a:pt x="0" y="0"/>
                </a:lnTo>
                <a:close/>
              </a:path>
            </a:pathLst>
          </a:custGeom>
          <a:solidFill>
            <a:srgbClr val="5FC7FC">
              <a:alpha val="51998"/>
            </a:srgb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8" name="bk object 18"/>
          <p:cNvSpPr/>
          <p:nvPr/>
        </p:nvSpPr>
        <p:spPr>
          <a:xfrm>
            <a:off x="17794922" y="9905820"/>
            <a:ext cx="576699" cy="384175"/>
          </a:xfrm>
          <a:custGeom>
            <a:avLst/>
            <a:gdLst/>
            <a:ahLst/>
            <a:cxnLst/>
            <a:rect l="l" t="t" r="r" b="b"/>
            <a:pathLst>
              <a:path w="229234" h="384175">
                <a:moveTo>
                  <a:pt x="229215" y="238054"/>
                </a:moveTo>
                <a:lnTo>
                  <a:pt x="6499" y="238054"/>
                </a:lnTo>
                <a:lnTo>
                  <a:pt x="229215" y="383628"/>
                </a:lnTo>
                <a:lnTo>
                  <a:pt x="229215" y="238054"/>
                </a:lnTo>
                <a:close/>
              </a:path>
              <a:path w="229234" h="384175">
                <a:moveTo>
                  <a:pt x="6499" y="0"/>
                </a:moveTo>
                <a:lnTo>
                  <a:pt x="0" y="4242"/>
                </a:lnTo>
                <a:lnTo>
                  <a:pt x="0" y="242309"/>
                </a:lnTo>
                <a:lnTo>
                  <a:pt x="6499" y="238054"/>
                </a:lnTo>
                <a:lnTo>
                  <a:pt x="229215" y="238054"/>
                </a:lnTo>
                <a:lnTo>
                  <a:pt x="229215" y="145561"/>
                </a:lnTo>
                <a:lnTo>
                  <a:pt x="6499" y="0"/>
                </a:lnTo>
                <a:close/>
              </a:path>
            </a:pathLst>
          </a:custGeom>
          <a:solidFill>
            <a:srgbClr val="FF8200">
              <a:alpha val="51998"/>
            </a:srgb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9" name="bk object 19"/>
          <p:cNvSpPr/>
          <p:nvPr/>
        </p:nvSpPr>
        <p:spPr>
          <a:xfrm>
            <a:off x="17913434" y="10051416"/>
            <a:ext cx="458484" cy="238125"/>
          </a:xfrm>
          <a:custGeom>
            <a:avLst/>
            <a:gdLst/>
            <a:ahLst/>
            <a:cxnLst/>
            <a:rect l="l" t="t" r="r" b="b"/>
            <a:pathLst>
              <a:path w="182245" h="238125">
                <a:moveTo>
                  <a:pt x="182107" y="0"/>
                </a:moveTo>
                <a:lnTo>
                  <a:pt x="0" y="119014"/>
                </a:lnTo>
                <a:lnTo>
                  <a:pt x="182107" y="238029"/>
                </a:lnTo>
                <a:lnTo>
                  <a:pt x="182107" y="0"/>
                </a:lnTo>
                <a:close/>
              </a:path>
            </a:pathLst>
          </a:custGeom>
          <a:solidFill>
            <a:srgbClr val="FFA100">
              <a:alpha val="51998"/>
            </a:srgb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0" name="bk object 20"/>
          <p:cNvSpPr/>
          <p:nvPr/>
        </p:nvSpPr>
        <p:spPr>
          <a:xfrm>
            <a:off x="17250971" y="9905820"/>
            <a:ext cx="560724" cy="384175"/>
          </a:xfrm>
          <a:custGeom>
            <a:avLst/>
            <a:gdLst/>
            <a:ahLst/>
            <a:cxnLst/>
            <a:rect l="l" t="t" r="r" b="b"/>
            <a:pathLst>
              <a:path w="222884" h="384175">
                <a:moveTo>
                  <a:pt x="222717" y="0"/>
                </a:moveTo>
                <a:lnTo>
                  <a:pt x="0" y="145561"/>
                </a:lnTo>
                <a:lnTo>
                  <a:pt x="0" y="383628"/>
                </a:lnTo>
                <a:lnTo>
                  <a:pt x="222717" y="238054"/>
                </a:lnTo>
                <a:lnTo>
                  <a:pt x="222717" y="0"/>
                </a:lnTo>
                <a:close/>
              </a:path>
            </a:pathLst>
          </a:custGeom>
          <a:solidFill>
            <a:srgbClr val="002E8E">
              <a:alpha val="51998"/>
            </a:srgb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1" name="bk object 21"/>
          <p:cNvSpPr/>
          <p:nvPr/>
        </p:nvSpPr>
        <p:spPr>
          <a:xfrm>
            <a:off x="17250970" y="10051413"/>
            <a:ext cx="458484" cy="238125"/>
          </a:xfrm>
          <a:custGeom>
            <a:avLst/>
            <a:gdLst/>
            <a:ahLst/>
            <a:cxnLst/>
            <a:rect l="l" t="t" r="r" b="b"/>
            <a:pathLst>
              <a:path w="182245" h="238125">
                <a:moveTo>
                  <a:pt x="0" y="0"/>
                </a:moveTo>
                <a:lnTo>
                  <a:pt x="0" y="238029"/>
                </a:lnTo>
                <a:lnTo>
                  <a:pt x="182109" y="119014"/>
                </a:lnTo>
                <a:lnTo>
                  <a:pt x="0" y="0"/>
                </a:lnTo>
                <a:close/>
              </a:path>
            </a:pathLst>
          </a:custGeom>
          <a:solidFill>
            <a:srgbClr val="009EF3">
              <a:alpha val="51998"/>
            </a:srgb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1315" y="427736"/>
            <a:ext cx="1712365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1315" y="2459482"/>
            <a:ext cx="1712365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468938" y="9944862"/>
            <a:ext cx="60884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51314" y="9944862"/>
            <a:ext cx="437604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3.11.2021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698929" y="9944862"/>
            <a:ext cx="437604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1046956" y="317499"/>
            <a:ext cx="3835570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3200" spc="-10">
                <a:solidFill>
                  <a:srgbClr val="FFFFFF"/>
                </a:solidFill>
                <a:cs typeface="Source Sans Pro Light"/>
              </a:rPr>
              <a:t>Duration: </a:t>
            </a:r>
            <a:r>
              <a:rPr sz="3200">
                <a:solidFill>
                  <a:srgbClr val="FFFFFF"/>
                </a:solidFill>
                <a:cs typeface="Source Sans Pro Light"/>
              </a:rPr>
              <a:t>65</a:t>
            </a:r>
            <a:r>
              <a:rPr sz="3200" spc="-50">
                <a:solidFill>
                  <a:srgbClr val="FFFFFF"/>
                </a:solidFill>
                <a:cs typeface="Source Sans Pro Light"/>
              </a:rPr>
              <a:t> </a:t>
            </a:r>
            <a:r>
              <a:rPr sz="3200">
                <a:solidFill>
                  <a:srgbClr val="FFFFFF"/>
                </a:solidFill>
                <a:cs typeface="Source Sans Pro Light"/>
              </a:rPr>
              <a:t>min</a:t>
            </a:r>
            <a:endParaRPr sz="3200">
              <a:cs typeface="Source Sans Pro Ligh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57055" y="514633"/>
            <a:ext cx="5600198" cy="580928"/>
          </a:xfrm>
          <a:prstGeom prst="rect">
            <a:avLst/>
          </a:prstGeom>
          <a:noFill/>
        </p:spPr>
        <p:txBody>
          <a:bodyPr vert="horz" wrap="square" lIns="0" tIns="87630" rIns="0" bIns="0" rtlCol="0">
            <a:spAutoFit/>
          </a:bodyPr>
          <a:lstStyle/>
          <a:p>
            <a:pPr marL="495300">
              <a:spcBef>
                <a:spcPts val="690"/>
              </a:spcBef>
            </a:pPr>
            <a:r>
              <a:rPr sz="3200">
                <a:solidFill>
                  <a:srgbClr val="FFFFFF"/>
                </a:solidFill>
                <a:cs typeface="Source Sans Pro Light"/>
              </a:rPr>
              <a:t>High</a:t>
            </a:r>
            <a:r>
              <a:rPr sz="3200" spc="-10">
                <a:solidFill>
                  <a:srgbClr val="FFFFFF"/>
                </a:solidFill>
                <a:cs typeface="Source Sans Pro Light"/>
              </a:rPr>
              <a:t> </a:t>
            </a:r>
            <a:r>
              <a:rPr sz="3200">
                <a:solidFill>
                  <a:srgbClr val="FFFFFF"/>
                </a:solidFill>
                <a:cs typeface="Source Sans Pro Light"/>
              </a:rPr>
              <a:t>School</a:t>
            </a:r>
            <a:endParaRPr sz="3200">
              <a:cs typeface="Source Sans Pro Ligh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343356" y="241300"/>
            <a:ext cx="5600198" cy="580928"/>
          </a:xfrm>
          <a:prstGeom prst="rect">
            <a:avLst/>
          </a:prstGeom>
          <a:noFill/>
        </p:spPr>
        <p:txBody>
          <a:bodyPr vert="horz" wrap="square" lIns="0" tIns="87630" rIns="0" bIns="0" rtlCol="0">
            <a:spAutoFit/>
          </a:bodyPr>
          <a:lstStyle/>
          <a:p>
            <a:pPr marL="406400">
              <a:spcBef>
                <a:spcPts val="690"/>
              </a:spcBef>
            </a:pPr>
            <a:r>
              <a:rPr sz="3200" spc="-5">
                <a:solidFill>
                  <a:srgbClr val="FFFFFF"/>
                </a:solidFill>
                <a:cs typeface="Source Sans Pro Light"/>
              </a:rPr>
              <a:t>Grades: </a:t>
            </a:r>
            <a:r>
              <a:rPr sz="3200">
                <a:solidFill>
                  <a:srgbClr val="FFFFFF"/>
                </a:solidFill>
                <a:cs typeface="Source Sans Pro Light"/>
              </a:rPr>
              <a:t>9 -</a:t>
            </a:r>
            <a:r>
              <a:rPr sz="3200" spc="-15">
                <a:solidFill>
                  <a:srgbClr val="FFFFFF"/>
                </a:solidFill>
                <a:cs typeface="Source Sans Pro Light"/>
              </a:rPr>
              <a:t> </a:t>
            </a:r>
            <a:r>
              <a:rPr sz="3200">
                <a:solidFill>
                  <a:srgbClr val="FFFFFF"/>
                </a:solidFill>
                <a:cs typeface="Source Sans Pro Light"/>
              </a:rPr>
              <a:t>12</a:t>
            </a:r>
            <a:endParaRPr sz="3200">
              <a:cs typeface="Source Sans Pro Light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0" y="3802750"/>
            <a:ext cx="19010313" cy="69455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2880421" y="3497894"/>
            <a:ext cx="13249470" cy="19774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lang="en-GB" sz="7200" spc="-25">
                <a:solidFill>
                  <a:srgbClr val="263E82"/>
                </a:solidFill>
                <a:cs typeface="Source Sans Pro"/>
              </a:rPr>
              <a:t>Group hand-in </a:t>
            </a:r>
            <a:r>
              <a:rPr lang="de-DE" sz="7200" spc="-25">
                <a:solidFill>
                  <a:srgbClr val="263E82"/>
                </a:solidFill>
                <a:cs typeface="Source Sans Pro"/>
              </a:rPr>
              <a:t>4</a:t>
            </a:r>
          </a:p>
          <a:p>
            <a:pPr marL="12700" algn="ctr">
              <a:spcBef>
                <a:spcPts val="100"/>
              </a:spcBef>
            </a:pPr>
            <a:endParaRPr lang="de-DE" sz="1000" spc="-25">
              <a:solidFill>
                <a:srgbClr val="263E82"/>
              </a:solidFill>
              <a:cs typeface="Source Sans Pro"/>
            </a:endParaRPr>
          </a:p>
          <a:p>
            <a:pPr marL="12700" algn="ctr">
              <a:spcBef>
                <a:spcPts val="100"/>
              </a:spcBef>
            </a:pPr>
            <a:r>
              <a:rPr lang="de-DE" sz="4400" spc="-25">
                <a:solidFill>
                  <a:srgbClr val="263E82"/>
                </a:solidFill>
                <a:cs typeface="Source Sans Pro"/>
              </a:rPr>
              <a:t>7313 - Data Science Analytics 2021</a:t>
            </a:r>
            <a:endParaRPr sz="4400">
              <a:cs typeface="Source Sans Pro"/>
            </a:endParaRPr>
          </a:p>
        </p:txBody>
      </p:sp>
      <p:sp>
        <p:nvSpPr>
          <p:cNvPr id="19" name="object 19"/>
          <p:cNvSpPr/>
          <p:nvPr/>
        </p:nvSpPr>
        <p:spPr>
          <a:xfrm flipV="1">
            <a:off x="5657055" y="5586226"/>
            <a:ext cx="7696200" cy="274319"/>
          </a:xfrm>
          <a:custGeom>
            <a:avLst/>
            <a:gdLst/>
            <a:ahLst/>
            <a:cxnLst/>
            <a:rect l="l" t="t" r="r" b="b"/>
            <a:pathLst>
              <a:path w="4686300">
                <a:moveTo>
                  <a:pt x="0" y="0"/>
                </a:moveTo>
                <a:lnTo>
                  <a:pt x="4686300" y="0"/>
                </a:lnTo>
              </a:path>
            </a:pathLst>
          </a:custGeom>
          <a:ln w="8466">
            <a:solidFill>
              <a:srgbClr val="002E8E"/>
            </a:solidFill>
          </a:ln>
        </p:spPr>
        <p:txBody>
          <a:bodyPr wrap="square" lIns="0" tIns="0" rIns="0" bIns="0" rtlCol="0"/>
          <a:lstStyle/>
          <a:p>
            <a:pPr algn="ctr"/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3575546" y="6066780"/>
            <a:ext cx="11978282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lang="de-DE" sz="4000">
                <a:solidFill>
                  <a:srgbClr val="00A0F0"/>
                </a:solidFill>
                <a:cs typeface="Source Sans Pro Light"/>
              </a:rPr>
              <a:t>Group 3: Julius von Dryander, Marc Gehring, Sebastian </a:t>
            </a:r>
            <a:r>
              <a:rPr lang="de-DE" sz="4000" err="1">
                <a:solidFill>
                  <a:srgbClr val="00A0F0"/>
                </a:solidFill>
                <a:cs typeface="Source Sans Pro Light"/>
              </a:rPr>
              <a:t>Waeteraere</a:t>
            </a:r>
            <a:r>
              <a:rPr lang="de-DE" sz="4000">
                <a:solidFill>
                  <a:srgbClr val="00A0F0"/>
                </a:solidFill>
                <a:cs typeface="Source Sans Pro Light"/>
              </a:rPr>
              <a:t>, Magnus Lütt</a:t>
            </a:r>
            <a:endParaRPr sz="4000">
              <a:cs typeface="Source Sans Pro Light"/>
            </a:endParaRPr>
          </a:p>
        </p:txBody>
      </p:sp>
      <p:pic>
        <p:nvPicPr>
          <p:cNvPr id="9" name="Picture 2" descr="Stockholm School of Economics - Wikipedia">
            <a:extLst>
              <a:ext uri="{FF2B5EF4-FFF2-40B4-BE49-F238E27FC236}">
                <a16:creationId xmlns:a16="http://schemas.microsoft.com/office/drawing/2014/main" id="{C42A7096-0EAD-4B12-ACB4-39AB9DADD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8084" y="370148"/>
            <a:ext cx="715829" cy="72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93E370-CBD9-45A8-9579-5097588E69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41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93E370-CBD9-45A8-9579-5097588E6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2">
            <a:extLst>
              <a:ext uri="{FF2B5EF4-FFF2-40B4-BE49-F238E27FC236}">
                <a16:creationId xmlns:a16="http://schemas.microsoft.com/office/drawing/2014/main" id="{C0F63C80-696D-4F1F-943C-77A22143821F}"/>
              </a:ext>
            </a:extLst>
          </p:cNvPr>
          <p:cNvSpPr/>
          <p:nvPr/>
        </p:nvSpPr>
        <p:spPr>
          <a:xfrm>
            <a:off x="-19844" y="556300"/>
            <a:ext cx="5132512" cy="828000"/>
          </a:xfrm>
          <a:custGeom>
            <a:avLst/>
            <a:gdLst/>
            <a:ahLst/>
            <a:cxnLst/>
            <a:rect l="l" t="t" r="r" b="b"/>
            <a:pathLst>
              <a:path w="2389505" h="437514">
                <a:moveTo>
                  <a:pt x="2170722" y="0"/>
                </a:moveTo>
                <a:lnTo>
                  <a:pt x="0" y="0"/>
                </a:lnTo>
                <a:lnTo>
                  <a:pt x="0" y="437153"/>
                </a:lnTo>
                <a:lnTo>
                  <a:pt x="2170722" y="437153"/>
                </a:lnTo>
                <a:lnTo>
                  <a:pt x="2220839" y="431380"/>
                </a:lnTo>
                <a:lnTo>
                  <a:pt x="2266846" y="414936"/>
                </a:lnTo>
                <a:lnTo>
                  <a:pt x="2307430" y="389134"/>
                </a:lnTo>
                <a:lnTo>
                  <a:pt x="2341280" y="355285"/>
                </a:lnTo>
                <a:lnTo>
                  <a:pt x="2367082" y="314701"/>
                </a:lnTo>
                <a:lnTo>
                  <a:pt x="2383526" y="268694"/>
                </a:lnTo>
                <a:lnTo>
                  <a:pt x="2389299" y="218577"/>
                </a:lnTo>
                <a:lnTo>
                  <a:pt x="2383526" y="168459"/>
                </a:lnTo>
                <a:lnTo>
                  <a:pt x="2367082" y="122452"/>
                </a:lnTo>
                <a:lnTo>
                  <a:pt x="2341280" y="81868"/>
                </a:lnTo>
                <a:lnTo>
                  <a:pt x="2307430" y="48018"/>
                </a:lnTo>
                <a:lnTo>
                  <a:pt x="2266846" y="22216"/>
                </a:lnTo>
                <a:lnTo>
                  <a:pt x="2220839" y="5772"/>
                </a:lnTo>
                <a:lnTo>
                  <a:pt x="217072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endParaRPr lang="de-DE"/>
          </a:p>
        </p:txBody>
      </p:sp>
      <p:sp>
        <p:nvSpPr>
          <p:cNvPr id="4" name="object 4"/>
          <p:cNvSpPr txBox="1"/>
          <p:nvPr/>
        </p:nvSpPr>
        <p:spPr>
          <a:xfrm>
            <a:off x="216124" y="732855"/>
            <a:ext cx="14761640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3200">
                <a:solidFill>
                  <a:srgbClr val="FFFFFF"/>
                </a:solidFill>
                <a:cs typeface="Source Sans Pro Light"/>
              </a:rPr>
              <a:t>Business Rationale</a:t>
            </a:r>
            <a:endParaRPr lang="de-DE" sz="3200">
              <a:cs typeface="Source Sans Pro Light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A1E088E-1F52-4BB3-B303-F2A8263FAFF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de-DE" smtClean="0"/>
              <a:t>2</a:t>
            </a:fld>
            <a:endParaRPr lang="de-DE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66A1C1-91D2-4A97-9680-0017B452BB8D}"/>
              </a:ext>
            </a:extLst>
          </p:cNvPr>
          <p:cNvSpPr txBox="1"/>
          <p:nvPr/>
        </p:nvSpPr>
        <p:spPr>
          <a:xfrm>
            <a:off x="5502421" y="647134"/>
            <a:ext cx="1151461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/>
              <a:t>Buy N Large needs to understand drivers of product returns</a:t>
            </a:r>
          </a:p>
        </p:txBody>
      </p:sp>
      <p:sp>
        <p:nvSpPr>
          <p:cNvPr id="37" name="Date Placeholder 10">
            <a:extLst>
              <a:ext uri="{FF2B5EF4-FFF2-40B4-BE49-F238E27FC236}">
                <a16:creationId xmlns:a16="http://schemas.microsoft.com/office/drawing/2014/main" id="{DE5DFC85-9952-4D88-A075-F7B3C593C8E9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51314" y="9944862"/>
            <a:ext cx="4376045" cy="276999"/>
          </a:xfrm>
        </p:spPr>
        <p:txBody>
          <a:bodyPr/>
          <a:lstStyle/>
          <a:p>
            <a:r>
              <a:rPr lang="de-DE"/>
              <a:t>13.12.2021</a:t>
            </a:r>
            <a:endParaRPr lang="en-US"/>
          </a:p>
        </p:txBody>
      </p:sp>
      <p:pic>
        <p:nvPicPr>
          <p:cNvPr id="38" name="Picture 2" descr="Stockholm School of Economics - Wikipedia">
            <a:extLst>
              <a:ext uri="{FF2B5EF4-FFF2-40B4-BE49-F238E27FC236}">
                <a16:creationId xmlns:a16="http://schemas.microsoft.com/office/drawing/2014/main" id="{1B6B5432-64D8-472A-ABCD-1E30C2F30D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8084" y="370148"/>
            <a:ext cx="715829" cy="72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8B8C26E9-AC8A-4977-BA33-9CE409592DC1}"/>
              </a:ext>
            </a:extLst>
          </p:cNvPr>
          <p:cNvSpPr/>
          <p:nvPr/>
        </p:nvSpPr>
        <p:spPr>
          <a:xfrm>
            <a:off x="828675" y="6476297"/>
            <a:ext cx="17246300" cy="3334453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8D8D740-186F-40D8-BC99-8FC23600CF99}"/>
              </a:ext>
            </a:extLst>
          </p:cNvPr>
          <p:cNvGrpSpPr/>
          <p:nvPr/>
        </p:nvGrpSpPr>
        <p:grpSpPr>
          <a:xfrm>
            <a:off x="2196766" y="6237343"/>
            <a:ext cx="4853638" cy="566324"/>
            <a:chOff x="1975641" y="6237343"/>
            <a:chExt cx="3101740" cy="566324"/>
          </a:xfrm>
        </p:grpSpPr>
        <p:sp>
          <p:nvSpPr>
            <p:cNvPr id="55" name="object 2">
              <a:extLst>
                <a:ext uri="{FF2B5EF4-FFF2-40B4-BE49-F238E27FC236}">
                  <a16:creationId xmlns:a16="http://schemas.microsoft.com/office/drawing/2014/main" id="{1AB368D6-02D9-46A5-B254-EAE62C21D7CA}"/>
                </a:ext>
              </a:extLst>
            </p:cNvPr>
            <p:cNvSpPr/>
            <p:nvPr/>
          </p:nvSpPr>
          <p:spPr>
            <a:xfrm>
              <a:off x="2365923" y="6237343"/>
              <a:ext cx="2711458" cy="566323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 anchor="ctr"/>
            <a:lstStyle/>
            <a:p>
              <a:endParaRPr lang="de-DE" sz="1600"/>
            </a:p>
          </p:txBody>
        </p:sp>
        <p:sp>
          <p:nvSpPr>
            <p:cNvPr id="56" name="object 2">
              <a:extLst>
                <a:ext uri="{FF2B5EF4-FFF2-40B4-BE49-F238E27FC236}">
                  <a16:creationId xmlns:a16="http://schemas.microsoft.com/office/drawing/2014/main" id="{9E1E5CEF-652A-4BD6-AA6D-BB7BCE9E0F07}"/>
                </a:ext>
              </a:extLst>
            </p:cNvPr>
            <p:cNvSpPr/>
            <p:nvPr/>
          </p:nvSpPr>
          <p:spPr>
            <a:xfrm rot="10800000">
              <a:off x="1975641" y="6237344"/>
              <a:ext cx="2711458" cy="566323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 anchor="ctr"/>
            <a:lstStyle/>
            <a:p>
              <a:endParaRPr lang="de-DE" sz="1600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71BC5921-264C-4D66-AFBE-8F1DE8679DB7}"/>
              </a:ext>
            </a:extLst>
          </p:cNvPr>
          <p:cNvSpPr txBox="1"/>
          <p:nvPr/>
        </p:nvSpPr>
        <p:spPr>
          <a:xfrm>
            <a:off x="2324517" y="6258895"/>
            <a:ext cx="452944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Machine Learning Mode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6C371D9-488F-4E67-8AC5-2FD46622EE5E}"/>
              </a:ext>
            </a:extLst>
          </p:cNvPr>
          <p:cNvSpPr txBox="1"/>
          <p:nvPr/>
        </p:nvSpPr>
        <p:spPr>
          <a:xfrm>
            <a:off x="1074839" y="7079999"/>
            <a:ext cx="17106799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Clr>
                <a:srgbClr val="00A0F0"/>
              </a:buClr>
            </a:pPr>
            <a:r>
              <a:rPr lang="en-US" sz="2400"/>
              <a:t>We utilized an extensive data set provided by Buy N Large to fit and evaluate machine learning models that help to understand drivers of product returns</a:t>
            </a:r>
            <a:r>
              <a:rPr lang="en-US" sz="2400">
                <a:ea typeface="+mn-lt"/>
                <a:cs typeface="+mn-lt"/>
              </a:rPr>
              <a:t>. The data set contains 620,274 transactions and 28,034 different items.</a:t>
            </a:r>
            <a:endParaRPr lang="en-US" sz="2400">
              <a:cs typeface="Calibri"/>
            </a:endParaRPr>
          </a:p>
          <a:p>
            <a:br>
              <a:rPr lang="en-US" sz="2400"/>
            </a:br>
            <a:r>
              <a:rPr lang="en-US" sz="2400"/>
              <a:t>Response variable: Product returns (</a:t>
            </a:r>
            <a:r>
              <a:rPr lang="en-US" sz="2400" err="1"/>
              <a:t>is_returned</a:t>
            </a:r>
            <a:r>
              <a:rPr lang="en-US" sz="2400"/>
              <a:t>)</a:t>
            </a:r>
            <a:endParaRPr lang="en-US" sz="2400">
              <a:cs typeface="Calibri"/>
            </a:endParaRPr>
          </a:p>
          <a:p>
            <a:pPr>
              <a:buClr>
                <a:srgbClr val="00A0F0"/>
              </a:buClr>
            </a:pPr>
            <a:r>
              <a:rPr lang="en-US" sz="2400"/>
              <a:t>Predictors: </a:t>
            </a:r>
            <a:r>
              <a:rPr lang="en-US" sz="2400" err="1"/>
              <a:t>avg_amount</a:t>
            </a:r>
            <a:r>
              <a:rPr lang="en-US" sz="2400"/>
              <a:t>, </a:t>
            </a:r>
            <a:r>
              <a:rPr lang="en-US" sz="2400" err="1"/>
              <a:t>avg_discount</a:t>
            </a:r>
            <a:r>
              <a:rPr lang="en-US" sz="2400"/>
              <a:t>, purchase location (</a:t>
            </a:r>
            <a:r>
              <a:rPr lang="en-US" sz="2400" err="1"/>
              <a:t>prop_online</a:t>
            </a:r>
            <a:r>
              <a:rPr lang="en-US" sz="2400"/>
              <a:t>), customer loyalty (</a:t>
            </a:r>
            <a:r>
              <a:rPr lang="en-US" sz="2400" err="1"/>
              <a:t>prop_loyalcust</a:t>
            </a:r>
            <a:r>
              <a:rPr lang="en-US" sz="2400"/>
              <a:t>), season (</a:t>
            </a:r>
            <a:r>
              <a:rPr lang="en-US" sz="2400" err="1"/>
              <a:t>xmas_prop</a:t>
            </a:r>
            <a:r>
              <a:rPr lang="en-US" sz="2400"/>
              <a:t>), weekday (</a:t>
            </a:r>
            <a:r>
              <a:rPr lang="en-US" sz="2400" err="1"/>
              <a:t>wkd_prop</a:t>
            </a:r>
            <a:r>
              <a:rPr lang="en-US" sz="2400"/>
              <a:t>), sustainability category (label)</a:t>
            </a:r>
          </a:p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endParaRPr lang="en-US" sz="2400"/>
          </a:p>
        </p:txBody>
      </p:sp>
      <p:sp>
        <p:nvSpPr>
          <p:cNvPr id="20" name="object 22">
            <a:extLst>
              <a:ext uri="{FF2B5EF4-FFF2-40B4-BE49-F238E27FC236}">
                <a16:creationId xmlns:a16="http://schemas.microsoft.com/office/drawing/2014/main" id="{914A22B2-49AF-48AE-A767-9D75030DD0A8}"/>
              </a:ext>
            </a:extLst>
          </p:cNvPr>
          <p:cNvSpPr txBox="1"/>
          <p:nvPr/>
        </p:nvSpPr>
        <p:spPr>
          <a:xfrm>
            <a:off x="916453" y="2025864"/>
            <a:ext cx="4698367" cy="48025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GB" sz="2800" spc="-10">
                <a:solidFill>
                  <a:srgbClr val="FFFFFF"/>
                </a:solidFill>
                <a:cs typeface="Source Sans Pro Light"/>
              </a:rPr>
              <a:t>Choice of case</a:t>
            </a:r>
            <a:endParaRPr lang="en-GB" sz="2800">
              <a:cs typeface="Source Sans Pro Ligh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2BE503-AFC6-474C-82EF-CD164C505DFA}"/>
              </a:ext>
            </a:extLst>
          </p:cNvPr>
          <p:cNvSpPr/>
          <p:nvPr/>
        </p:nvSpPr>
        <p:spPr>
          <a:xfrm>
            <a:off x="12443529" y="1801137"/>
            <a:ext cx="5631445" cy="4147470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5FEF856-EFA3-48C8-9221-141B98EC40EB}"/>
              </a:ext>
            </a:extLst>
          </p:cNvPr>
          <p:cNvGrpSpPr/>
          <p:nvPr/>
        </p:nvGrpSpPr>
        <p:grpSpPr>
          <a:xfrm>
            <a:off x="13811619" y="1504012"/>
            <a:ext cx="3032176" cy="612961"/>
            <a:chOff x="5821855" y="3862392"/>
            <a:chExt cx="4578234" cy="780016"/>
          </a:xfrm>
        </p:grpSpPr>
        <p:sp>
          <p:nvSpPr>
            <p:cNvPr id="50" name="object 2">
              <a:extLst>
                <a:ext uri="{FF2B5EF4-FFF2-40B4-BE49-F238E27FC236}">
                  <a16:creationId xmlns:a16="http://schemas.microsoft.com/office/drawing/2014/main" id="{6A52B532-C8D4-4182-83FC-42995926D223}"/>
                </a:ext>
              </a:extLst>
            </p:cNvPr>
            <p:cNvSpPr/>
            <p:nvPr/>
          </p:nvSpPr>
          <p:spPr>
            <a:xfrm>
              <a:off x="6397919" y="3862392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 anchor="ctr"/>
            <a:lstStyle/>
            <a:p>
              <a:endParaRPr lang="de-DE" sz="1600"/>
            </a:p>
          </p:txBody>
        </p:sp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6706BFC5-F464-40A3-8B8C-FA2642BCE75F}"/>
                </a:ext>
              </a:extLst>
            </p:cNvPr>
            <p:cNvSpPr/>
            <p:nvPr/>
          </p:nvSpPr>
          <p:spPr>
            <a:xfrm rot="10800000">
              <a:off x="5821855" y="3862394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 anchor="ctr"/>
            <a:lstStyle/>
            <a:p>
              <a:endParaRPr lang="de-DE" sz="1600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28D6840A-4701-4646-827B-A3E49198C1AC}"/>
              </a:ext>
            </a:extLst>
          </p:cNvPr>
          <p:cNvSpPr txBox="1"/>
          <p:nvPr/>
        </p:nvSpPr>
        <p:spPr>
          <a:xfrm>
            <a:off x="14152670" y="1548883"/>
            <a:ext cx="23845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Solu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A0CF55-160E-40B1-A846-EEFB92BD16C7}"/>
              </a:ext>
            </a:extLst>
          </p:cNvPr>
          <p:cNvSpPr/>
          <p:nvPr/>
        </p:nvSpPr>
        <p:spPr>
          <a:xfrm>
            <a:off x="6636102" y="1801137"/>
            <a:ext cx="5631445" cy="4147470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AD4A05-D4CF-40B7-9059-C6C40F85D86D}"/>
              </a:ext>
            </a:extLst>
          </p:cNvPr>
          <p:cNvGrpSpPr/>
          <p:nvPr/>
        </p:nvGrpSpPr>
        <p:grpSpPr>
          <a:xfrm>
            <a:off x="8004193" y="1504012"/>
            <a:ext cx="3032176" cy="612961"/>
            <a:chOff x="5821855" y="3862392"/>
            <a:chExt cx="4578234" cy="780016"/>
          </a:xfrm>
        </p:grpSpPr>
        <p:sp>
          <p:nvSpPr>
            <p:cNvPr id="45" name="object 2">
              <a:extLst>
                <a:ext uri="{FF2B5EF4-FFF2-40B4-BE49-F238E27FC236}">
                  <a16:creationId xmlns:a16="http://schemas.microsoft.com/office/drawing/2014/main" id="{71CBA680-00AD-488E-8058-9BFC44B1C220}"/>
                </a:ext>
              </a:extLst>
            </p:cNvPr>
            <p:cNvSpPr/>
            <p:nvPr/>
          </p:nvSpPr>
          <p:spPr>
            <a:xfrm>
              <a:off x="6397919" y="3862392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 anchor="ctr"/>
            <a:lstStyle/>
            <a:p>
              <a:endParaRPr lang="de-DE" sz="1600"/>
            </a:p>
          </p:txBody>
        </p:sp>
        <p:sp>
          <p:nvSpPr>
            <p:cNvPr id="46" name="object 2">
              <a:extLst>
                <a:ext uri="{FF2B5EF4-FFF2-40B4-BE49-F238E27FC236}">
                  <a16:creationId xmlns:a16="http://schemas.microsoft.com/office/drawing/2014/main" id="{5A8EE6F7-D355-4213-9164-2790F89754E5}"/>
                </a:ext>
              </a:extLst>
            </p:cNvPr>
            <p:cNvSpPr/>
            <p:nvPr/>
          </p:nvSpPr>
          <p:spPr>
            <a:xfrm rot="10800000">
              <a:off x="5821855" y="3862394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 anchor="ctr"/>
            <a:lstStyle/>
            <a:p>
              <a:endParaRPr lang="de-DE" sz="1600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27C4549F-3F08-419E-B1F0-43DF14D15510}"/>
              </a:ext>
            </a:extLst>
          </p:cNvPr>
          <p:cNvSpPr txBox="1"/>
          <p:nvPr/>
        </p:nvSpPr>
        <p:spPr>
          <a:xfrm>
            <a:off x="8345244" y="1548883"/>
            <a:ext cx="23845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Complic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CE3B82-318B-4C81-8612-29252E6D91EC}"/>
              </a:ext>
            </a:extLst>
          </p:cNvPr>
          <p:cNvSpPr/>
          <p:nvPr/>
        </p:nvSpPr>
        <p:spPr>
          <a:xfrm>
            <a:off x="828675" y="1801137"/>
            <a:ext cx="5631445" cy="4147470"/>
          </a:xfrm>
          <a:prstGeom prst="rect">
            <a:avLst/>
          </a:prstGeom>
          <a:noFill/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9F44C3-6255-4ACB-B859-88CF660F72BC}"/>
              </a:ext>
            </a:extLst>
          </p:cNvPr>
          <p:cNvSpPr txBox="1"/>
          <p:nvPr/>
        </p:nvSpPr>
        <p:spPr>
          <a:xfrm>
            <a:off x="999869" y="2163851"/>
            <a:ext cx="519573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Calibri"/>
              </a:rPr>
              <a:t>Buy N Large is a department store chain operating online and offline</a:t>
            </a:r>
            <a:endParaRPr lang="en-US" sz="2400"/>
          </a:p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Calibri"/>
              </a:rPr>
              <a:t>One of their KPIs is related to sustainability </a:t>
            </a:r>
            <a:endParaRPr lang="en-US" sz="2400"/>
          </a:p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Calibri"/>
              </a:rPr>
              <a:t>BNL wants to understand the drivers of product returns</a:t>
            </a:r>
            <a:endParaRPr lang="en-US" sz="2400"/>
          </a:p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/>
              <a:t>Returns allow customers to make buying decisions easier</a:t>
            </a:r>
            <a:endParaRPr lang="en-US">
              <a:cs typeface="Calibri"/>
            </a:endParaRPr>
          </a:p>
          <a:p>
            <a:pPr marL="285750" indent="-285750"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2400"/>
              <a:t>Offering returns results in a competitive advantage for companies</a:t>
            </a:r>
            <a:endParaRPr lang="en-US" sz="2400">
              <a:cs typeface="Calibr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82E54C-AC86-4ADD-B769-4C93FD0B71DD}"/>
              </a:ext>
            </a:extLst>
          </p:cNvPr>
          <p:cNvSpPr txBox="1"/>
          <p:nvPr/>
        </p:nvSpPr>
        <p:spPr>
          <a:xfrm>
            <a:off x="6853957" y="2163851"/>
            <a:ext cx="519573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2400"/>
              <a:t>Offering returns poses a business challenge for Buy N Large</a:t>
            </a:r>
          </a:p>
          <a:p>
            <a:pPr marL="285750" indent="-285750"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2400"/>
              <a:t>Negative impact on the bottom line (expensive and logistically challenging)</a:t>
            </a:r>
            <a:endParaRPr lang="en-US" sz="2400">
              <a:cs typeface="Calibri"/>
            </a:endParaRPr>
          </a:p>
          <a:p>
            <a:pPr marL="285750" indent="-285750"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2400"/>
              <a:t>Returns lead to higher waste, which drives up costs and impacts Buy N Large's environmental footprint</a:t>
            </a:r>
          </a:p>
          <a:p>
            <a:pPr marL="285750" indent="-285750"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Calibri"/>
              </a:rPr>
              <a:t>Returns cannot be abolished as industry standard (hygiene factor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F0C05AF-778D-4EB7-A500-32A28A5164C8}"/>
              </a:ext>
            </a:extLst>
          </p:cNvPr>
          <p:cNvSpPr txBox="1"/>
          <p:nvPr/>
        </p:nvSpPr>
        <p:spPr>
          <a:xfrm>
            <a:off x="12661383" y="2163851"/>
            <a:ext cx="519573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/>
              <a:t>Analyze data on product and transaction level to understand the drivers of product returns </a:t>
            </a:r>
          </a:p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/>
              <a:t>Fit and evaluate machine learning models that help </a:t>
            </a:r>
            <a:r>
              <a:rPr lang="en-US" sz="2400" err="1"/>
              <a:t>BnL</a:t>
            </a:r>
            <a:r>
              <a:rPr lang="en-US" sz="2400"/>
              <a:t> to understand drivers of product returns</a:t>
            </a:r>
          </a:p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/>
              <a:t>Use the insights to adapt the product portfolio, </a:t>
            </a:r>
            <a:r>
              <a:rPr lang="en-US" sz="2400">
                <a:ea typeface="+mn-lt"/>
                <a:cs typeface="+mn-lt"/>
              </a:rPr>
              <a:t>logistics, and marketing</a:t>
            </a:r>
            <a:endParaRPr lang="en-US" sz="2400"/>
          </a:p>
          <a:p>
            <a:pPr marL="285750" indent="-285750">
              <a:buClr>
                <a:srgbClr val="BFBFBF"/>
              </a:buClr>
              <a:buFont typeface="Wingdings" panose="05000000000000000000" pitchFamily="2" charset="2"/>
              <a:buChar char="§"/>
            </a:pPr>
            <a:r>
              <a:rPr lang="en-US" sz="2400"/>
              <a:t>Minimize the impact on the company’s triple bottom line 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FC2100B-4036-4E0B-A487-EE7B65CFCB1C}"/>
              </a:ext>
            </a:extLst>
          </p:cNvPr>
          <p:cNvGrpSpPr/>
          <p:nvPr/>
        </p:nvGrpSpPr>
        <p:grpSpPr>
          <a:xfrm>
            <a:off x="2196766" y="1511759"/>
            <a:ext cx="3032176" cy="612961"/>
            <a:chOff x="5821855" y="3862392"/>
            <a:chExt cx="4578234" cy="780016"/>
          </a:xfrm>
        </p:grpSpPr>
        <p:sp>
          <p:nvSpPr>
            <p:cNvPr id="40" name="object 2">
              <a:extLst>
                <a:ext uri="{FF2B5EF4-FFF2-40B4-BE49-F238E27FC236}">
                  <a16:creationId xmlns:a16="http://schemas.microsoft.com/office/drawing/2014/main" id="{F20A0F92-BCF8-4F3F-B817-EE6B3C7BCFED}"/>
                </a:ext>
              </a:extLst>
            </p:cNvPr>
            <p:cNvSpPr/>
            <p:nvPr/>
          </p:nvSpPr>
          <p:spPr>
            <a:xfrm>
              <a:off x="6397919" y="3862392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de-DE" sz="1600"/>
            </a:p>
          </p:txBody>
        </p:sp>
        <p:sp>
          <p:nvSpPr>
            <p:cNvPr id="41" name="object 2">
              <a:extLst>
                <a:ext uri="{FF2B5EF4-FFF2-40B4-BE49-F238E27FC236}">
                  <a16:creationId xmlns:a16="http://schemas.microsoft.com/office/drawing/2014/main" id="{CD0EEEC7-2031-4242-9304-69E0BC497A3A}"/>
                </a:ext>
              </a:extLst>
            </p:cNvPr>
            <p:cNvSpPr/>
            <p:nvPr/>
          </p:nvSpPr>
          <p:spPr>
            <a:xfrm rot="10800000">
              <a:off x="5821855" y="3862394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de-DE" sz="160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7A9A7CE-08C8-418C-902F-759BEC54A779}"/>
              </a:ext>
            </a:extLst>
          </p:cNvPr>
          <p:cNvSpPr txBox="1"/>
          <p:nvPr/>
        </p:nvSpPr>
        <p:spPr>
          <a:xfrm>
            <a:off x="2537817" y="1556630"/>
            <a:ext cx="23845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Situation</a:t>
            </a:r>
          </a:p>
        </p:txBody>
      </p:sp>
    </p:spTree>
    <p:extLst>
      <p:ext uri="{BB962C8B-B14F-4D97-AF65-F5344CB8AC3E}">
        <p14:creationId xmlns:p14="http://schemas.microsoft.com/office/powerpoint/2010/main" val="801734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box and whisker chart&#10;&#10;Description automatically generated">
            <a:extLst>
              <a:ext uri="{FF2B5EF4-FFF2-40B4-BE49-F238E27FC236}">
                <a16:creationId xmlns:a16="http://schemas.microsoft.com/office/drawing/2014/main" id="{2AF4457D-AFE7-4E6D-B69F-6CF25FF57F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5901" y="2439453"/>
            <a:ext cx="6099800" cy="4739652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912B500B-6173-4761-8E55-F151F3F3702A}"/>
              </a:ext>
            </a:extLst>
          </p:cNvPr>
          <p:cNvSpPr/>
          <p:nvPr/>
        </p:nvSpPr>
        <p:spPr>
          <a:xfrm>
            <a:off x="9710509" y="2177143"/>
            <a:ext cx="8352928" cy="7631370"/>
          </a:xfrm>
          <a:prstGeom prst="rect">
            <a:avLst/>
          </a:prstGeom>
          <a:noFill/>
          <a:ln>
            <a:solidFill>
              <a:srgbClr val="00A0F0">
                <a:alpha val="61961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A34F38E-E78D-4686-AA60-AC45BAC4C589}"/>
              </a:ext>
            </a:extLst>
          </p:cNvPr>
          <p:cNvGrpSpPr/>
          <p:nvPr/>
        </p:nvGrpSpPr>
        <p:grpSpPr>
          <a:xfrm>
            <a:off x="10470731" y="1854728"/>
            <a:ext cx="6652909" cy="553352"/>
            <a:chOff x="3891074" y="3862392"/>
            <a:chExt cx="7969266" cy="780016"/>
          </a:xfrm>
        </p:grpSpPr>
        <p:sp>
          <p:nvSpPr>
            <p:cNvPr id="46" name="object 2">
              <a:extLst>
                <a:ext uri="{FF2B5EF4-FFF2-40B4-BE49-F238E27FC236}">
                  <a16:creationId xmlns:a16="http://schemas.microsoft.com/office/drawing/2014/main" id="{5223B384-2DFA-4D3A-9267-94B84DEADF77}"/>
                </a:ext>
              </a:extLst>
            </p:cNvPr>
            <p:cNvSpPr/>
            <p:nvPr/>
          </p:nvSpPr>
          <p:spPr>
            <a:xfrm>
              <a:off x="7858170" y="3862392"/>
              <a:ext cx="4002170" cy="780015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rgbClr val="00A0F0"/>
            </a:solidFill>
          </p:spPr>
          <p:txBody>
            <a:bodyPr wrap="square" lIns="0" tIns="0" rIns="0" bIns="0" rtlCol="0"/>
            <a:lstStyle/>
            <a:p>
              <a:endParaRPr lang="de-DE"/>
            </a:p>
          </p:txBody>
        </p:sp>
        <p:sp>
          <p:nvSpPr>
            <p:cNvPr id="47" name="object 2">
              <a:extLst>
                <a:ext uri="{FF2B5EF4-FFF2-40B4-BE49-F238E27FC236}">
                  <a16:creationId xmlns:a16="http://schemas.microsoft.com/office/drawing/2014/main" id="{3DA134BB-A773-4781-982C-3BA003CC8DEC}"/>
                </a:ext>
              </a:extLst>
            </p:cNvPr>
            <p:cNvSpPr/>
            <p:nvPr/>
          </p:nvSpPr>
          <p:spPr>
            <a:xfrm rot="10800000">
              <a:off x="3891074" y="3862393"/>
              <a:ext cx="4002170" cy="780015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solidFill>
              <a:srgbClr val="00A0F0"/>
            </a:solidFill>
          </p:spPr>
          <p:txBody>
            <a:bodyPr wrap="square" lIns="0" tIns="0" rIns="0" bIns="0" rtlCol="0"/>
            <a:lstStyle/>
            <a:p>
              <a:endParaRPr lang="de-DE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DBBBC19A-750F-494B-8CAF-D7B46FF7286E}"/>
              </a:ext>
            </a:extLst>
          </p:cNvPr>
          <p:cNvSpPr txBox="1"/>
          <p:nvPr/>
        </p:nvSpPr>
        <p:spPr>
          <a:xfrm>
            <a:off x="5488763" y="647134"/>
            <a:ext cx="12355663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3200"/>
              <a:t>At item level, features were identified that drive product returns 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93E370-CBD9-45A8-9579-5097588E69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93E370-CBD9-45A8-9579-5097588E6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2">
            <a:extLst>
              <a:ext uri="{FF2B5EF4-FFF2-40B4-BE49-F238E27FC236}">
                <a16:creationId xmlns:a16="http://schemas.microsoft.com/office/drawing/2014/main" id="{C0F63C80-696D-4F1F-943C-77A22143821F}"/>
              </a:ext>
            </a:extLst>
          </p:cNvPr>
          <p:cNvSpPr/>
          <p:nvPr/>
        </p:nvSpPr>
        <p:spPr>
          <a:xfrm>
            <a:off x="-19844" y="556300"/>
            <a:ext cx="5132512" cy="828000"/>
          </a:xfrm>
          <a:custGeom>
            <a:avLst/>
            <a:gdLst/>
            <a:ahLst/>
            <a:cxnLst/>
            <a:rect l="l" t="t" r="r" b="b"/>
            <a:pathLst>
              <a:path w="2389505" h="437514">
                <a:moveTo>
                  <a:pt x="2170722" y="0"/>
                </a:moveTo>
                <a:lnTo>
                  <a:pt x="0" y="0"/>
                </a:lnTo>
                <a:lnTo>
                  <a:pt x="0" y="437153"/>
                </a:lnTo>
                <a:lnTo>
                  <a:pt x="2170722" y="437153"/>
                </a:lnTo>
                <a:lnTo>
                  <a:pt x="2220839" y="431380"/>
                </a:lnTo>
                <a:lnTo>
                  <a:pt x="2266846" y="414936"/>
                </a:lnTo>
                <a:lnTo>
                  <a:pt x="2307430" y="389134"/>
                </a:lnTo>
                <a:lnTo>
                  <a:pt x="2341280" y="355285"/>
                </a:lnTo>
                <a:lnTo>
                  <a:pt x="2367082" y="314701"/>
                </a:lnTo>
                <a:lnTo>
                  <a:pt x="2383526" y="268694"/>
                </a:lnTo>
                <a:lnTo>
                  <a:pt x="2389299" y="218577"/>
                </a:lnTo>
                <a:lnTo>
                  <a:pt x="2383526" y="168459"/>
                </a:lnTo>
                <a:lnTo>
                  <a:pt x="2367082" y="122452"/>
                </a:lnTo>
                <a:lnTo>
                  <a:pt x="2341280" y="81868"/>
                </a:lnTo>
                <a:lnTo>
                  <a:pt x="2307430" y="48018"/>
                </a:lnTo>
                <a:lnTo>
                  <a:pt x="2266846" y="22216"/>
                </a:lnTo>
                <a:lnTo>
                  <a:pt x="2220839" y="5772"/>
                </a:lnTo>
                <a:lnTo>
                  <a:pt x="2170722" y="0"/>
                </a:lnTo>
                <a:close/>
              </a:path>
            </a:pathLst>
          </a:custGeom>
          <a:solidFill>
            <a:srgbClr val="00A0F0"/>
          </a:solidFill>
        </p:spPr>
        <p:txBody>
          <a:bodyPr wrap="square" lIns="0" tIns="0" rIns="0" bIns="0" rtlCol="0"/>
          <a:lstStyle/>
          <a:p>
            <a:endParaRPr lang="de-DE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A1E088E-1F52-4BB3-B303-F2A8263FAFF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de-DE" smtClean="0"/>
              <a:t>3</a:t>
            </a:fld>
            <a:endParaRPr lang="de-DE"/>
          </a:p>
        </p:txBody>
      </p:sp>
      <p:sp>
        <p:nvSpPr>
          <p:cNvPr id="37" name="Date Placeholder 10">
            <a:extLst>
              <a:ext uri="{FF2B5EF4-FFF2-40B4-BE49-F238E27FC236}">
                <a16:creationId xmlns:a16="http://schemas.microsoft.com/office/drawing/2014/main" id="{DE5DFC85-9952-4D88-A075-F7B3C593C8E9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51314" y="9944862"/>
            <a:ext cx="4376045" cy="276999"/>
          </a:xfrm>
        </p:spPr>
        <p:txBody>
          <a:bodyPr/>
          <a:lstStyle/>
          <a:p>
            <a:r>
              <a:rPr lang="de-DE"/>
              <a:t>13.12.2021</a:t>
            </a:r>
            <a:endParaRPr lang="en-US"/>
          </a:p>
        </p:txBody>
      </p:sp>
      <p:pic>
        <p:nvPicPr>
          <p:cNvPr id="38" name="Picture 2" descr="Stockholm School of Economics - Wikipedia">
            <a:extLst>
              <a:ext uri="{FF2B5EF4-FFF2-40B4-BE49-F238E27FC236}">
                <a16:creationId xmlns:a16="http://schemas.microsoft.com/office/drawing/2014/main" id="{1B6B5432-64D8-472A-ABCD-1E30C2F30D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8084" y="370148"/>
            <a:ext cx="715829" cy="72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675B636-E1EF-4D58-8A2C-4EB373FE6670}"/>
              </a:ext>
            </a:extLst>
          </p:cNvPr>
          <p:cNvSpPr/>
          <p:nvPr/>
        </p:nvSpPr>
        <p:spPr>
          <a:xfrm>
            <a:off x="837487" y="2177143"/>
            <a:ext cx="8332256" cy="7631370"/>
          </a:xfrm>
          <a:prstGeom prst="rect">
            <a:avLst/>
          </a:prstGeom>
          <a:noFill/>
          <a:ln>
            <a:solidFill>
              <a:srgbClr val="00A0F0">
                <a:alpha val="61961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9CE9F68-7729-473B-BB10-099A39D6770A}"/>
              </a:ext>
            </a:extLst>
          </p:cNvPr>
          <p:cNvSpPr txBox="1"/>
          <p:nvPr/>
        </p:nvSpPr>
        <p:spPr>
          <a:xfrm>
            <a:off x="10003809" y="7117790"/>
            <a:ext cx="7778288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r>
              <a:rPr lang="en-US" sz="2400"/>
              <a:t>The results indicate that across all variables, customer loyalty (</a:t>
            </a:r>
            <a:r>
              <a:rPr lang="en-US" sz="2400" err="1"/>
              <a:t>prop_loyalcust</a:t>
            </a:r>
            <a:r>
              <a:rPr lang="en-US" sz="2400"/>
              <a:t>), average discount (</a:t>
            </a:r>
            <a:r>
              <a:rPr lang="en-US" sz="2400" err="1"/>
              <a:t>avg_discount</a:t>
            </a:r>
            <a:r>
              <a:rPr lang="en-US" sz="2400"/>
              <a:t>), purchase location (</a:t>
            </a:r>
            <a:r>
              <a:rPr lang="en-US" sz="2400" err="1"/>
              <a:t>prop_online</a:t>
            </a:r>
            <a:r>
              <a:rPr lang="en-US" sz="2400"/>
              <a:t>), season (</a:t>
            </a:r>
            <a:r>
              <a:rPr lang="en-US" sz="2400" err="1"/>
              <a:t>xmas_prop</a:t>
            </a:r>
            <a:r>
              <a:rPr lang="en-US" sz="2400"/>
              <a:t>) and the label (</a:t>
            </a:r>
            <a:r>
              <a:rPr lang="en-US" sz="2400" err="1"/>
              <a:t>label.Ethical</a:t>
            </a:r>
            <a:r>
              <a:rPr lang="en-US" sz="2400"/>
              <a:t>) are the most important variables</a:t>
            </a:r>
            <a:endParaRPr lang="en-US" sz="2400">
              <a:cs typeface="Calibri"/>
            </a:endParaRPr>
          </a:p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Calibri"/>
              </a:rPr>
              <a:t>Importance here means that these variables play the biggest role in enhancing model accuracy</a:t>
            </a:r>
          </a:p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endParaRPr lang="en-US" sz="2400">
              <a:cs typeface="Calibri"/>
            </a:endParaRPr>
          </a:p>
        </p:txBody>
      </p:sp>
      <p:sp>
        <p:nvSpPr>
          <p:cNvPr id="28" name="object 4">
            <a:extLst>
              <a:ext uri="{FF2B5EF4-FFF2-40B4-BE49-F238E27FC236}">
                <a16:creationId xmlns:a16="http://schemas.microsoft.com/office/drawing/2014/main" id="{C0029B30-F970-4188-A797-E64E7288E0A8}"/>
              </a:ext>
            </a:extLst>
          </p:cNvPr>
          <p:cNvSpPr txBox="1"/>
          <p:nvPr/>
        </p:nvSpPr>
        <p:spPr>
          <a:xfrm>
            <a:off x="216124" y="732855"/>
            <a:ext cx="3171627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3200">
                <a:solidFill>
                  <a:srgbClr val="FFFFFF"/>
                </a:solidFill>
                <a:cs typeface="Source Sans Pro Light"/>
              </a:rPr>
              <a:t>Data</a:t>
            </a:r>
            <a:endParaRPr lang="de-DE" sz="3200">
              <a:cs typeface="Source Sans Pro Light"/>
            </a:endParaRP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E74E7706-4F02-47E7-98CF-8754DB882B4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26" r="1616"/>
          <a:stretch/>
        </p:blipFill>
        <p:spPr>
          <a:xfrm>
            <a:off x="1375149" y="2626771"/>
            <a:ext cx="7475038" cy="442772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FC37E00-263F-453D-86FC-B6F54D40C794}"/>
              </a:ext>
            </a:extLst>
          </p:cNvPr>
          <p:cNvGrpSpPr/>
          <p:nvPr/>
        </p:nvGrpSpPr>
        <p:grpSpPr>
          <a:xfrm>
            <a:off x="1647125" y="1858510"/>
            <a:ext cx="6623425" cy="553352"/>
            <a:chOff x="6405467" y="1658461"/>
            <a:chExt cx="6904364" cy="553352"/>
          </a:xfrm>
          <a:solidFill>
            <a:srgbClr val="00A0F0"/>
          </a:solidFill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87B1FD4D-C32C-4585-80CB-A0074DD900E5}"/>
                </a:ext>
              </a:extLst>
            </p:cNvPr>
            <p:cNvGrpSpPr/>
            <p:nvPr/>
          </p:nvGrpSpPr>
          <p:grpSpPr>
            <a:xfrm>
              <a:off x="9655523" y="1658461"/>
              <a:ext cx="3654308" cy="553352"/>
              <a:chOff x="6765498" y="3862390"/>
              <a:chExt cx="2903468" cy="780016"/>
            </a:xfrm>
            <a:grpFill/>
          </p:grpSpPr>
          <p:sp>
            <p:nvSpPr>
              <p:cNvPr id="51" name="object 2">
                <a:extLst>
                  <a:ext uri="{FF2B5EF4-FFF2-40B4-BE49-F238E27FC236}">
                    <a16:creationId xmlns:a16="http://schemas.microsoft.com/office/drawing/2014/main" id="{387AD07E-8AEE-46E0-8734-7B0597E6450D}"/>
                  </a:ext>
                </a:extLst>
              </p:cNvPr>
              <p:cNvSpPr/>
              <p:nvPr/>
            </p:nvSpPr>
            <p:spPr>
              <a:xfrm>
                <a:off x="6765498" y="3862391"/>
                <a:ext cx="2903468" cy="780015"/>
              </a:xfrm>
              <a:custGeom>
                <a:avLst/>
                <a:gdLst/>
                <a:ahLst/>
                <a:cxnLst/>
                <a:rect l="l" t="t" r="r" b="b"/>
                <a:pathLst>
                  <a:path w="2389505" h="437514">
                    <a:moveTo>
                      <a:pt x="2170722" y="0"/>
                    </a:moveTo>
                    <a:lnTo>
                      <a:pt x="0" y="0"/>
                    </a:lnTo>
                    <a:lnTo>
                      <a:pt x="0" y="437153"/>
                    </a:lnTo>
                    <a:lnTo>
                      <a:pt x="2170722" y="437153"/>
                    </a:lnTo>
                    <a:lnTo>
                      <a:pt x="2220839" y="431380"/>
                    </a:lnTo>
                    <a:lnTo>
                      <a:pt x="2266846" y="414936"/>
                    </a:lnTo>
                    <a:lnTo>
                      <a:pt x="2307430" y="389134"/>
                    </a:lnTo>
                    <a:lnTo>
                      <a:pt x="2341280" y="355285"/>
                    </a:lnTo>
                    <a:lnTo>
                      <a:pt x="2367082" y="314701"/>
                    </a:lnTo>
                    <a:lnTo>
                      <a:pt x="2383526" y="268694"/>
                    </a:lnTo>
                    <a:lnTo>
                      <a:pt x="2389299" y="218577"/>
                    </a:lnTo>
                    <a:lnTo>
                      <a:pt x="2383526" y="168459"/>
                    </a:lnTo>
                    <a:lnTo>
                      <a:pt x="2367082" y="122452"/>
                    </a:lnTo>
                    <a:lnTo>
                      <a:pt x="2341280" y="81868"/>
                    </a:lnTo>
                    <a:lnTo>
                      <a:pt x="2307430" y="48018"/>
                    </a:lnTo>
                    <a:lnTo>
                      <a:pt x="2266846" y="22216"/>
                    </a:lnTo>
                    <a:lnTo>
                      <a:pt x="2220839" y="5772"/>
                    </a:lnTo>
                    <a:lnTo>
                      <a:pt x="2170722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lang="de-DE"/>
              </a:p>
            </p:txBody>
          </p:sp>
          <p:sp>
            <p:nvSpPr>
              <p:cNvPr id="52" name="object 2">
                <a:extLst>
                  <a:ext uri="{FF2B5EF4-FFF2-40B4-BE49-F238E27FC236}">
                    <a16:creationId xmlns:a16="http://schemas.microsoft.com/office/drawing/2014/main" id="{BEE53D5F-2325-4836-945E-629AAFAF1CDF}"/>
                  </a:ext>
                </a:extLst>
              </p:cNvPr>
              <p:cNvSpPr/>
              <p:nvPr/>
            </p:nvSpPr>
            <p:spPr>
              <a:xfrm rot="10800000">
                <a:off x="6805835" y="3862390"/>
                <a:ext cx="2326854" cy="780015"/>
              </a:xfrm>
              <a:custGeom>
                <a:avLst/>
                <a:gdLst/>
                <a:ahLst/>
                <a:cxnLst/>
                <a:rect l="l" t="t" r="r" b="b"/>
                <a:pathLst>
                  <a:path w="2389505" h="437514">
                    <a:moveTo>
                      <a:pt x="2170722" y="0"/>
                    </a:moveTo>
                    <a:lnTo>
                      <a:pt x="0" y="0"/>
                    </a:lnTo>
                    <a:lnTo>
                      <a:pt x="0" y="437153"/>
                    </a:lnTo>
                    <a:lnTo>
                      <a:pt x="2170722" y="437153"/>
                    </a:lnTo>
                    <a:lnTo>
                      <a:pt x="2220839" y="431380"/>
                    </a:lnTo>
                    <a:lnTo>
                      <a:pt x="2266846" y="414936"/>
                    </a:lnTo>
                    <a:lnTo>
                      <a:pt x="2307430" y="389134"/>
                    </a:lnTo>
                    <a:lnTo>
                      <a:pt x="2341280" y="355285"/>
                    </a:lnTo>
                    <a:lnTo>
                      <a:pt x="2367082" y="314701"/>
                    </a:lnTo>
                    <a:lnTo>
                      <a:pt x="2383526" y="268694"/>
                    </a:lnTo>
                    <a:lnTo>
                      <a:pt x="2389299" y="218577"/>
                    </a:lnTo>
                    <a:lnTo>
                      <a:pt x="2383526" y="168459"/>
                    </a:lnTo>
                    <a:lnTo>
                      <a:pt x="2367082" y="122452"/>
                    </a:lnTo>
                    <a:lnTo>
                      <a:pt x="2341280" y="81868"/>
                    </a:lnTo>
                    <a:lnTo>
                      <a:pt x="2307430" y="48018"/>
                    </a:lnTo>
                    <a:lnTo>
                      <a:pt x="2266846" y="22216"/>
                    </a:lnTo>
                    <a:lnTo>
                      <a:pt x="2220839" y="5772"/>
                    </a:lnTo>
                    <a:lnTo>
                      <a:pt x="2170722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lang="de-DE"/>
              </a:p>
            </p:txBody>
          </p:sp>
        </p:grp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F4361EFA-E2B8-4658-B34C-3952533A5CC2}"/>
                </a:ext>
              </a:extLst>
            </p:cNvPr>
            <p:cNvSpPr/>
            <p:nvPr/>
          </p:nvSpPr>
          <p:spPr>
            <a:xfrm rot="10800000">
              <a:off x="6405467" y="1660726"/>
              <a:ext cx="3495452" cy="548912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lang="de-DE"/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E3EA15EF-FC95-4AF3-90F0-FF01D64A41CC}"/>
              </a:ext>
            </a:extLst>
          </p:cNvPr>
          <p:cNvSpPr txBox="1"/>
          <p:nvPr/>
        </p:nvSpPr>
        <p:spPr>
          <a:xfrm>
            <a:off x="1650455" y="1853007"/>
            <a:ext cx="65018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Preliminary results: feature comparis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9C26BE6-FFFA-469B-99E3-6AD310809BB1}"/>
              </a:ext>
            </a:extLst>
          </p:cNvPr>
          <p:cNvSpPr txBox="1"/>
          <p:nvPr/>
        </p:nvSpPr>
        <p:spPr>
          <a:xfrm>
            <a:off x="10598500" y="1848529"/>
            <a:ext cx="63488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Modelling results: product return driver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2709EB-F20D-48D4-96DA-AC861F4F9AC6}"/>
              </a:ext>
            </a:extLst>
          </p:cNvPr>
          <p:cNvSpPr txBox="1"/>
          <p:nvPr/>
        </p:nvSpPr>
        <p:spPr>
          <a:xfrm>
            <a:off x="946875" y="7122669"/>
            <a:ext cx="8049641" cy="246221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r>
              <a:rPr lang="en-US" sz="2200"/>
              <a:t>Preliminary results on the expected drivers of product returns can be obtained prior to the actual modelling via descriptive statistics</a:t>
            </a:r>
          </a:p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r>
              <a:rPr lang="en-US" sz="2200" err="1"/>
              <a:t>Barplots</a:t>
            </a:r>
            <a:r>
              <a:rPr lang="en-US" sz="2200"/>
              <a:t> for every feature, comparing the target variable (</a:t>
            </a:r>
            <a:r>
              <a:rPr lang="en-US" sz="2200" err="1"/>
              <a:t>is_returned</a:t>
            </a:r>
            <a:r>
              <a:rPr lang="en-US" sz="2200"/>
              <a:t>) and the average of the respective feature, provide a first indication</a:t>
            </a:r>
          </a:p>
          <a:p>
            <a:pPr marL="285750" indent="-285750">
              <a:buClr>
                <a:srgbClr val="00A0F0"/>
              </a:buClr>
              <a:buFont typeface="Wingdings" panose="05000000000000000000" pitchFamily="2" charset="2"/>
              <a:buChar char="§"/>
            </a:pPr>
            <a:r>
              <a:rPr lang="en-US" sz="2200" err="1">
                <a:sym typeface="Wingdings" panose="05000000000000000000" pitchFamily="2" charset="2"/>
              </a:rPr>
              <a:t>Prob_online</a:t>
            </a:r>
            <a:r>
              <a:rPr lang="en-US" sz="2200">
                <a:sym typeface="Wingdings" panose="05000000000000000000" pitchFamily="2" charset="2"/>
              </a:rPr>
              <a:t> and </a:t>
            </a:r>
            <a:r>
              <a:rPr lang="en-US" sz="2200" err="1">
                <a:sym typeface="Wingdings" panose="05000000000000000000" pitchFamily="2" charset="2"/>
              </a:rPr>
              <a:t>avg_discount</a:t>
            </a:r>
            <a:r>
              <a:rPr lang="en-US" sz="2200">
                <a:sym typeface="Wingdings" panose="05000000000000000000" pitchFamily="2" charset="2"/>
              </a:rPr>
              <a:t> seem to have the greatest relative difference between returned and non-returned items 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2033624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6F3C97-57CA-45C5-9CA9-041D656405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D6F3C97-57CA-45C5-9CA9-041D656405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9FAD69-8554-47D6-8A27-AA64DDAD34D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de-DE" dirty="0" smtClean="0"/>
              <a:t>4</a:t>
            </a:fld>
            <a:endParaRPr lang="de-DE"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8A50BB08-8964-4DFB-AFFB-8C5DF81DE486}"/>
              </a:ext>
            </a:extLst>
          </p:cNvPr>
          <p:cNvSpPr txBox="1"/>
          <p:nvPr/>
        </p:nvSpPr>
        <p:spPr>
          <a:xfrm>
            <a:off x="665956" y="708701"/>
            <a:ext cx="271852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de-DE" sz="2800">
                <a:solidFill>
                  <a:srgbClr val="FFFFFF"/>
                </a:solidFill>
                <a:cs typeface="Source Sans Pro Light"/>
              </a:rPr>
              <a:t>Question 2</a:t>
            </a:r>
            <a:endParaRPr sz="2800">
              <a:cs typeface="Source Sans Pro Light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B09C5443-B13E-4131-A577-37C19D84313A}"/>
              </a:ext>
            </a:extLst>
          </p:cNvPr>
          <p:cNvSpPr/>
          <p:nvPr/>
        </p:nvSpPr>
        <p:spPr>
          <a:xfrm>
            <a:off x="-19844" y="556300"/>
            <a:ext cx="5132512" cy="828000"/>
          </a:xfrm>
          <a:custGeom>
            <a:avLst/>
            <a:gdLst/>
            <a:ahLst/>
            <a:cxnLst/>
            <a:rect l="l" t="t" r="r" b="b"/>
            <a:pathLst>
              <a:path w="2389505" h="437514">
                <a:moveTo>
                  <a:pt x="2170722" y="0"/>
                </a:moveTo>
                <a:lnTo>
                  <a:pt x="0" y="0"/>
                </a:lnTo>
                <a:lnTo>
                  <a:pt x="0" y="437153"/>
                </a:lnTo>
                <a:lnTo>
                  <a:pt x="2170722" y="437153"/>
                </a:lnTo>
                <a:lnTo>
                  <a:pt x="2220839" y="431380"/>
                </a:lnTo>
                <a:lnTo>
                  <a:pt x="2266846" y="414936"/>
                </a:lnTo>
                <a:lnTo>
                  <a:pt x="2307430" y="389134"/>
                </a:lnTo>
                <a:lnTo>
                  <a:pt x="2341280" y="355285"/>
                </a:lnTo>
                <a:lnTo>
                  <a:pt x="2367082" y="314701"/>
                </a:lnTo>
                <a:lnTo>
                  <a:pt x="2383526" y="268694"/>
                </a:lnTo>
                <a:lnTo>
                  <a:pt x="2389299" y="218577"/>
                </a:lnTo>
                <a:lnTo>
                  <a:pt x="2383526" y="168459"/>
                </a:lnTo>
                <a:lnTo>
                  <a:pt x="2367082" y="122452"/>
                </a:lnTo>
                <a:lnTo>
                  <a:pt x="2341280" y="81868"/>
                </a:lnTo>
                <a:lnTo>
                  <a:pt x="2307430" y="48018"/>
                </a:lnTo>
                <a:lnTo>
                  <a:pt x="2266846" y="22216"/>
                </a:lnTo>
                <a:lnTo>
                  <a:pt x="2220839" y="5772"/>
                </a:lnTo>
                <a:lnTo>
                  <a:pt x="2170722" y="0"/>
                </a:lnTo>
                <a:close/>
              </a:path>
            </a:pathLst>
          </a:custGeom>
          <a:solidFill>
            <a:srgbClr val="81BE41"/>
          </a:solidFill>
        </p:spPr>
        <p:txBody>
          <a:bodyPr wrap="square" lIns="0" tIns="0" rIns="0" bIns="0" rtlCol="0"/>
          <a:lstStyle/>
          <a:p>
            <a:endParaRPr lang="de-DE"/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662B9F7B-AF65-4725-85AC-9ED030A6D13A}"/>
              </a:ext>
            </a:extLst>
          </p:cNvPr>
          <p:cNvSpPr txBox="1"/>
          <p:nvPr/>
        </p:nvSpPr>
        <p:spPr>
          <a:xfrm>
            <a:off x="216124" y="732855"/>
            <a:ext cx="5544616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3200">
                <a:solidFill>
                  <a:srgbClr val="FFFFFF"/>
                </a:solidFill>
                <a:cs typeface="Source Sans Pro Light"/>
              </a:rPr>
              <a:t>Recommendations</a:t>
            </a:r>
            <a:endParaRPr lang="de-DE" sz="3200">
              <a:cs typeface="Source Sans Pro Light"/>
            </a:endParaRPr>
          </a:p>
        </p:txBody>
      </p:sp>
      <p:pic>
        <p:nvPicPr>
          <p:cNvPr id="18" name="Picture 2" descr="Stockholm School of Economics - Wikipedia">
            <a:extLst>
              <a:ext uri="{FF2B5EF4-FFF2-40B4-BE49-F238E27FC236}">
                <a16:creationId xmlns:a16="http://schemas.microsoft.com/office/drawing/2014/main" id="{0A2B12FB-A35A-4BEC-96C6-FD0A61AD1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8084" y="370148"/>
            <a:ext cx="715829" cy="72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Date Placeholder 10">
            <a:extLst>
              <a:ext uri="{FF2B5EF4-FFF2-40B4-BE49-F238E27FC236}">
                <a16:creationId xmlns:a16="http://schemas.microsoft.com/office/drawing/2014/main" id="{F4C7040B-1F71-4A80-A149-3A194D521A5D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51314" y="9944862"/>
            <a:ext cx="4376045" cy="276999"/>
          </a:xfrm>
        </p:spPr>
        <p:txBody>
          <a:bodyPr/>
          <a:lstStyle/>
          <a:p>
            <a:r>
              <a:rPr lang="de-DE"/>
              <a:t>13.12.2021</a:t>
            </a:r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3BB1FE-D9D6-4746-BCBD-1B8B00593CAD}"/>
              </a:ext>
            </a:extLst>
          </p:cNvPr>
          <p:cNvSpPr txBox="1"/>
          <p:nvPr/>
        </p:nvSpPr>
        <p:spPr>
          <a:xfrm>
            <a:off x="5502421" y="431691"/>
            <a:ext cx="11514617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3200"/>
              <a:t>Buy N Large should incentivize loyal customers to reduce product returns to positively impact the triple bottom line </a:t>
            </a:r>
          </a:p>
        </p:txBody>
      </p:sp>
      <p:sp>
        <p:nvSpPr>
          <p:cNvPr id="35" name="object 22">
            <a:extLst>
              <a:ext uri="{FF2B5EF4-FFF2-40B4-BE49-F238E27FC236}">
                <a16:creationId xmlns:a16="http://schemas.microsoft.com/office/drawing/2014/main" id="{9A6E424C-0997-47EB-88E6-8D84F5B577FE}"/>
              </a:ext>
            </a:extLst>
          </p:cNvPr>
          <p:cNvSpPr txBox="1"/>
          <p:nvPr/>
        </p:nvSpPr>
        <p:spPr>
          <a:xfrm>
            <a:off x="308762" y="2010452"/>
            <a:ext cx="4806156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GB" sz="2800" spc="-10">
                <a:solidFill>
                  <a:srgbClr val="FFFFFF"/>
                </a:solidFill>
                <a:cs typeface="Source Sans Pro Light"/>
              </a:rPr>
              <a:t>Choice of case</a:t>
            </a:r>
            <a:endParaRPr lang="en-GB" sz="2800">
              <a:cs typeface="Source Sans Pro Ligh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3E72A99-466A-4E02-B88B-46B569B63887}"/>
              </a:ext>
            </a:extLst>
          </p:cNvPr>
          <p:cNvSpPr/>
          <p:nvPr/>
        </p:nvSpPr>
        <p:spPr>
          <a:xfrm>
            <a:off x="13014700" y="2136307"/>
            <a:ext cx="5760640" cy="7336305"/>
          </a:xfrm>
          <a:prstGeom prst="rect">
            <a:avLst/>
          </a:prstGeom>
          <a:noFill/>
          <a:ln>
            <a:solidFill>
              <a:srgbClr val="81BE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3B735C2-6365-43B4-BB8D-0E1A1F2EB68D}"/>
              </a:ext>
            </a:extLst>
          </p:cNvPr>
          <p:cNvGrpSpPr/>
          <p:nvPr/>
        </p:nvGrpSpPr>
        <p:grpSpPr>
          <a:xfrm>
            <a:off x="13915896" y="1823324"/>
            <a:ext cx="4098301" cy="566324"/>
            <a:chOff x="5821855" y="3862392"/>
            <a:chExt cx="4578234" cy="780016"/>
          </a:xfrm>
          <a:solidFill>
            <a:srgbClr val="81BE41"/>
          </a:solidFill>
        </p:grpSpPr>
        <p:sp>
          <p:nvSpPr>
            <p:cNvPr id="45" name="object 2">
              <a:extLst>
                <a:ext uri="{FF2B5EF4-FFF2-40B4-BE49-F238E27FC236}">
                  <a16:creationId xmlns:a16="http://schemas.microsoft.com/office/drawing/2014/main" id="{6624B8E3-4726-45A1-AD45-3F9B1D3D3E7B}"/>
                </a:ext>
              </a:extLst>
            </p:cNvPr>
            <p:cNvSpPr/>
            <p:nvPr/>
          </p:nvSpPr>
          <p:spPr>
            <a:xfrm>
              <a:off x="6397919" y="3862392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lang="de-DE" sz="1200"/>
            </a:p>
          </p:txBody>
        </p:sp>
        <p:sp>
          <p:nvSpPr>
            <p:cNvPr id="46" name="object 2">
              <a:extLst>
                <a:ext uri="{FF2B5EF4-FFF2-40B4-BE49-F238E27FC236}">
                  <a16:creationId xmlns:a16="http://schemas.microsoft.com/office/drawing/2014/main" id="{CE509E6D-E791-499B-B7A6-E73550FC05F4}"/>
                </a:ext>
              </a:extLst>
            </p:cNvPr>
            <p:cNvSpPr/>
            <p:nvPr/>
          </p:nvSpPr>
          <p:spPr>
            <a:xfrm rot="10800000">
              <a:off x="5821855" y="3862394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lang="de-DE" sz="1200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376066C-E7E5-46BF-AD2A-089A181C05EB}"/>
              </a:ext>
            </a:extLst>
          </p:cNvPr>
          <p:cNvSpPr txBox="1"/>
          <p:nvPr/>
        </p:nvSpPr>
        <p:spPr>
          <a:xfrm>
            <a:off x="14763052" y="1844876"/>
            <a:ext cx="24392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PPP Impac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9999AFB-4F85-425A-AB1E-31E4C6B7C3E2}"/>
              </a:ext>
            </a:extLst>
          </p:cNvPr>
          <p:cNvSpPr/>
          <p:nvPr/>
        </p:nvSpPr>
        <p:spPr>
          <a:xfrm>
            <a:off x="6616835" y="2139886"/>
            <a:ext cx="5760640" cy="7336305"/>
          </a:xfrm>
          <a:prstGeom prst="rect">
            <a:avLst/>
          </a:prstGeom>
          <a:noFill/>
          <a:ln>
            <a:solidFill>
              <a:srgbClr val="81BE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C1D7D97-912A-4530-B667-7F0ACDB7E9D8}"/>
              </a:ext>
            </a:extLst>
          </p:cNvPr>
          <p:cNvGrpSpPr/>
          <p:nvPr/>
        </p:nvGrpSpPr>
        <p:grpSpPr>
          <a:xfrm>
            <a:off x="7518032" y="1826903"/>
            <a:ext cx="4098301" cy="566324"/>
            <a:chOff x="5821855" y="3862392"/>
            <a:chExt cx="4578234" cy="780016"/>
          </a:xfrm>
          <a:solidFill>
            <a:srgbClr val="81BE41"/>
          </a:solidFill>
        </p:grpSpPr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C4B390DF-BD63-4AAE-93FD-556D7323FDCE}"/>
                </a:ext>
              </a:extLst>
            </p:cNvPr>
            <p:cNvSpPr/>
            <p:nvPr/>
          </p:nvSpPr>
          <p:spPr>
            <a:xfrm>
              <a:off x="6397919" y="3862392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lang="de-DE" sz="1600"/>
            </a:p>
          </p:txBody>
        </p:sp>
        <p:sp>
          <p:nvSpPr>
            <p:cNvPr id="52" name="object 2">
              <a:extLst>
                <a:ext uri="{FF2B5EF4-FFF2-40B4-BE49-F238E27FC236}">
                  <a16:creationId xmlns:a16="http://schemas.microsoft.com/office/drawing/2014/main" id="{204D16B6-D4F7-4A4B-813C-A492F73E91B4}"/>
                </a:ext>
              </a:extLst>
            </p:cNvPr>
            <p:cNvSpPr/>
            <p:nvPr/>
          </p:nvSpPr>
          <p:spPr>
            <a:xfrm rot="10800000">
              <a:off x="5821855" y="3862394"/>
              <a:ext cx="4002170" cy="780014"/>
            </a:xfrm>
            <a:custGeom>
              <a:avLst/>
              <a:gdLst/>
              <a:ahLst/>
              <a:cxnLst/>
              <a:rect l="l" t="t" r="r" b="b"/>
              <a:pathLst>
                <a:path w="2389505" h="437514">
                  <a:moveTo>
                    <a:pt x="2170722" y="0"/>
                  </a:moveTo>
                  <a:lnTo>
                    <a:pt x="0" y="0"/>
                  </a:lnTo>
                  <a:lnTo>
                    <a:pt x="0" y="437153"/>
                  </a:lnTo>
                  <a:lnTo>
                    <a:pt x="2170722" y="437153"/>
                  </a:lnTo>
                  <a:lnTo>
                    <a:pt x="2220839" y="431380"/>
                  </a:lnTo>
                  <a:lnTo>
                    <a:pt x="2266846" y="414936"/>
                  </a:lnTo>
                  <a:lnTo>
                    <a:pt x="2307430" y="389134"/>
                  </a:lnTo>
                  <a:lnTo>
                    <a:pt x="2341280" y="355285"/>
                  </a:lnTo>
                  <a:lnTo>
                    <a:pt x="2367082" y="314701"/>
                  </a:lnTo>
                  <a:lnTo>
                    <a:pt x="2383526" y="268694"/>
                  </a:lnTo>
                  <a:lnTo>
                    <a:pt x="2389299" y="218577"/>
                  </a:lnTo>
                  <a:lnTo>
                    <a:pt x="2383526" y="168459"/>
                  </a:lnTo>
                  <a:lnTo>
                    <a:pt x="2367082" y="122452"/>
                  </a:lnTo>
                  <a:lnTo>
                    <a:pt x="2341280" y="81868"/>
                  </a:lnTo>
                  <a:lnTo>
                    <a:pt x="2307430" y="48018"/>
                  </a:lnTo>
                  <a:lnTo>
                    <a:pt x="2266846" y="22216"/>
                  </a:lnTo>
                  <a:lnTo>
                    <a:pt x="2220839" y="5772"/>
                  </a:lnTo>
                  <a:lnTo>
                    <a:pt x="217072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lang="de-DE" sz="1600"/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40CF9613-5E7F-4DEA-BD2C-2073B564B5EF}"/>
              </a:ext>
            </a:extLst>
          </p:cNvPr>
          <p:cNvSpPr txBox="1"/>
          <p:nvPr/>
        </p:nvSpPr>
        <p:spPr>
          <a:xfrm>
            <a:off x="7695223" y="1848455"/>
            <a:ext cx="37791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Business Action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322E1C5-1224-4C54-B6FF-B53F6573A8E8}"/>
              </a:ext>
            </a:extLst>
          </p:cNvPr>
          <p:cNvSpPr/>
          <p:nvPr/>
        </p:nvSpPr>
        <p:spPr>
          <a:xfrm>
            <a:off x="218970" y="2136307"/>
            <a:ext cx="5760640" cy="7336305"/>
          </a:xfrm>
          <a:prstGeom prst="rect">
            <a:avLst/>
          </a:prstGeom>
          <a:noFill/>
          <a:ln>
            <a:solidFill>
              <a:srgbClr val="81BE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C1B7E59-CBE8-4B4F-9EAD-01D5CA4800E8}"/>
              </a:ext>
            </a:extLst>
          </p:cNvPr>
          <p:cNvGrpSpPr/>
          <p:nvPr/>
        </p:nvGrpSpPr>
        <p:grpSpPr>
          <a:xfrm>
            <a:off x="1120167" y="1830482"/>
            <a:ext cx="4098301" cy="566324"/>
            <a:chOff x="5821855" y="3862392"/>
            <a:chExt cx="4578234" cy="780016"/>
          </a:xfrm>
          <a:solidFill>
            <a:srgbClr val="81BE41"/>
          </a:solidFill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6642750-FCB0-4204-8587-DE4E7F7F35F6}"/>
                </a:ext>
              </a:extLst>
            </p:cNvPr>
            <p:cNvGrpSpPr/>
            <p:nvPr/>
          </p:nvGrpSpPr>
          <p:grpSpPr>
            <a:xfrm>
              <a:off x="5821855" y="3862392"/>
              <a:ext cx="4578234" cy="780016"/>
              <a:chOff x="5821855" y="3862392"/>
              <a:chExt cx="4578234" cy="780016"/>
            </a:xfrm>
            <a:grpFill/>
          </p:grpSpPr>
          <p:sp>
            <p:nvSpPr>
              <p:cNvPr id="60" name="object 2">
                <a:extLst>
                  <a:ext uri="{FF2B5EF4-FFF2-40B4-BE49-F238E27FC236}">
                    <a16:creationId xmlns:a16="http://schemas.microsoft.com/office/drawing/2014/main" id="{BAA574E2-2023-46B4-BC7C-4C4ED956161A}"/>
                  </a:ext>
                </a:extLst>
              </p:cNvPr>
              <p:cNvSpPr/>
              <p:nvPr/>
            </p:nvSpPr>
            <p:spPr>
              <a:xfrm>
                <a:off x="6397919" y="3862392"/>
                <a:ext cx="4002170" cy="780014"/>
              </a:xfrm>
              <a:custGeom>
                <a:avLst/>
                <a:gdLst/>
                <a:ahLst/>
                <a:cxnLst/>
                <a:rect l="l" t="t" r="r" b="b"/>
                <a:pathLst>
                  <a:path w="2389505" h="437514">
                    <a:moveTo>
                      <a:pt x="2170722" y="0"/>
                    </a:moveTo>
                    <a:lnTo>
                      <a:pt x="0" y="0"/>
                    </a:lnTo>
                    <a:lnTo>
                      <a:pt x="0" y="437153"/>
                    </a:lnTo>
                    <a:lnTo>
                      <a:pt x="2170722" y="437153"/>
                    </a:lnTo>
                    <a:lnTo>
                      <a:pt x="2220839" y="431380"/>
                    </a:lnTo>
                    <a:lnTo>
                      <a:pt x="2266846" y="414936"/>
                    </a:lnTo>
                    <a:lnTo>
                      <a:pt x="2307430" y="389134"/>
                    </a:lnTo>
                    <a:lnTo>
                      <a:pt x="2341280" y="355285"/>
                    </a:lnTo>
                    <a:lnTo>
                      <a:pt x="2367082" y="314701"/>
                    </a:lnTo>
                    <a:lnTo>
                      <a:pt x="2383526" y="268694"/>
                    </a:lnTo>
                    <a:lnTo>
                      <a:pt x="2389299" y="218577"/>
                    </a:lnTo>
                    <a:lnTo>
                      <a:pt x="2383526" y="168459"/>
                    </a:lnTo>
                    <a:lnTo>
                      <a:pt x="2367082" y="122452"/>
                    </a:lnTo>
                    <a:lnTo>
                      <a:pt x="2341280" y="81868"/>
                    </a:lnTo>
                    <a:lnTo>
                      <a:pt x="2307430" y="48018"/>
                    </a:lnTo>
                    <a:lnTo>
                      <a:pt x="2266846" y="22216"/>
                    </a:lnTo>
                    <a:lnTo>
                      <a:pt x="2220839" y="5772"/>
                    </a:lnTo>
                    <a:lnTo>
                      <a:pt x="2170722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lang="de-DE" sz="1600"/>
              </a:p>
            </p:txBody>
          </p:sp>
          <p:sp>
            <p:nvSpPr>
              <p:cNvPr id="61" name="object 2">
                <a:extLst>
                  <a:ext uri="{FF2B5EF4-FFF2-40B4-BE49-F238E27FC236}">
                    <a16:creationId xmlns:a16="http://schemas.microsoft.com/office/drawing/2014/main" id="{034C7ED8-B0C7-4F76-A467-3D0AFD83F179}"/>
                  </a:ext>
                </a:extLst>
              </p:cNvPr>
              <p:cNvSpPr/>
              <p:nvPr/>
            </p:nvSpPr>
            <p:spPr>
              <a:xfrm rot="10800000">
                <a:off x="5821855" y="3862394"/>
                <a:ext cx="4002170" cy="780014"/>
              </a:xfrm>
              <a:custGeom>
                <a:avLst/>
                <a:gdLst/>
                <a:ahLst/>
                <a:cxnLst/>
                <a:rect l="l" t="t" r="r" b="b"/>
                <a:pathLst>
                  <a:path w="2389505" h="437514">
                    <a:moveTo>
                      <a:pt x="2170722" y="0"/>
                    </a:moveTo>
                    <a:lnTo>
                      <a:pt x="0" y="0"/>
                    </a:lnTo>
                    <a:lnTo>
                      <a:pt x="0" y="437153"/>
                    </a:lnTo>
                    <a:lnTo>
                      <a:pt x="2170722" y="437153"/>
                    </a:lnTo>
                    <a:lnTo>
                      <a:pt x="2220839" y="431380"/>
                    </a:lnTo>
                    <a:lnTo>
                      <a:pt x="2266846" y="414936"/>
                    </a:lnTo>
                    <a:lnTo>
                      <a:pt x="2307430" y="389134"/>
                    </a:lnTo>
                    <a:lnTo>
                      <a:pt x="2341280" y="355285"/>
                    </a:lnTo>
                    <a:lnTo>
                      <a:pt x="2367082" y="314701"/>
                    </a:lnTo>
                    <a:lnTo>
                      <a:pt x="2383526" y="268694"/>
                    </a:lnTo>
                    <a:lnTo>
                      <a:pt x="2389299" y="218577"/>
                    </a:lnTo>
                    <a:lnTo>
                      <a:pt x="2383526" y="168459"/>
                    </a:lnTo>
                    <a:lnTo>
                      <a:pt x="2367082" y="122452"/>
                    </a:lnTo>
                    <a:lnTo>
                      <a:pt x="2341280" y="81868"/>
                    </a:lnTo>
                    <a:lnTo>
                      <a:pt x="2307430" y="48018"/>
                    </a:lnTo>
                    <a:lnTo>
                      <a:pt x="2266846" y="22216"/>
                    </a:lnTo>
                    <a:lnTo>
                      <a:pt x="2220839" y="5772"/>
                    </a:lnTo>
                    <a:lnTo>
                      <a:pt x="2170722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lang="de-DE" sz="1600"/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9BE62BF-E05E-4A34-A105-50693EFE68C8}"/>
                </a:ext>
              </a:extLst>
            </p:cNvPr>
            <p:cNvSpPr txBox="1"/>
            <p:nvPr/>
          </p:nvSpPr>
          <p:spPr>
            <a:xfrm>
              <a:off x="6336803" y="3879245"/>
              <a:ext cx="3600399" cy="72064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>
                  <a:solidFill>
                    <a:schemeClr val="bg1"/>
                  </a:solidFill>
                </a:rPr>
                <a:t>Model Implications</a:t>
              </a:r>
            </a:p>
          </p:txBody>
        </p:sp>
      </p:grp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183CF2EF-2E68-4893-B12C-D704F8365E5F}"/>
              </a:ext>
            </a:extLst>
          </p:cNvPr>
          <p:cNvSpPr/>
          <p:nvPr/>
        </p:nvSpPr>
        <p:spPr>
          <a:xfrm rot="5400000">
            <a:off x="4520297" y="5690742"/>
            <a:ext cx="3627292" cy="227439"/>
          </a:xfrm>
          <a:prstGeom prst="triangle">
            <a:avLst/>
          </a:prstGeom>
          <a:solidFill>
            <a:srgbClr val="81BE41"/>
          </a:solidFill>
          <a:ln>
            <a:solidFill>
              <a:srgbClr val="81BE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A0C14C94-D661-4346-B5DA-FE4E0E0A3237}"/>
              </a:ext>
            </a:extLst>
          </p:cNvPr>
          <p:cNvSpPr/>
          <p:nvPr/>
        </p:nvSpPr>
        <p:spPr>
          <a:xfrm rot="5400000">
            <a:off x="10882442" y="5537829"/>
            <a:ext cx="3627292" cy="227439"/>
          </a:xfrm>
          <a:prstGeom prst="triangle">
            <a:avLst/>
          </a:prstGeom>
          <a:solidFill>
            <a:srgbClr val="81BE41"/>
          </a:solidFill>
          <a:ln>
            <a:solidFill>
              <a:srgbClr val="81BE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4">
            <a:extLst>
              <a:ext uri="{FF2B5EF4-FFF2-40B4-BE49-F238E27FC236}">
                <a16:creationId xmlns:a16="http://schemas.microsoft.com/office/drawing/2014/main" id="{6ED008D4-5B3C-4F5C-B635-E67E48527E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64" t="17625" r="2965" b="16613"/>
          <a:stretch/>
        </p:blipFill>
        <p:spPr bwMode="auto">
          <a:xfrm>
            <a:off x="13297908" y="2816725"/>
            <a:ext cx="864855" cy="1454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">
            <a:extLst>
              <a:ext uri="{FF2B5EF4-FFF2-40B4-BE49-F238E27FC236}">
                <a16:creationId xmlns:a16="http://schemas.microsoft.com/office/drawing/2014/main" id="{32EF7E69-04D9-4937-A16F-624DB9139D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" t="17691" r="67920" b="16547"/>
          <a:stretch/>
        </p:blipFill>
        <p:spPr bwMode="auto">
          <a:xfrm>
            <a:off x="13201811" y="7076012"/>
            <a:ext cx="1057046" cy="1454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>
            <a:extLst>
              <a:ext uri="{FF2B5EF4-FFF2-40B4-BE49-F238E27FC236}">
                <a16:creationId xmlns:a16="http://schemas.microsoft.com/office/drawing/2014/main" id="{97D78998-00A8-4FF9-9269-6BF2538DC4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0" t="18889" r="33677" b="15350"/>
          <a:stretch/>
        </p:blipFill>
        <p:spPr bwMode="auto">
          <a:xfrm>
            <a:off x="13201813" y="4946368"/>
            <a:ext cx="1057046" cy="1454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BBD5EF19-E158-4AB0-B9E2-DFA29762C00F}"/>
              </a:ext>
            </a:extLst>
          </p:cNvPr>
          <p:cNvSpPr txBox="1"/>
          <p:nvPr/>
        </p:nvSpPr>
        <p:spPr>
          <a:xfrm>
            <a:off x="14480161" y="2883177"/>
            <a:ext cx="4273772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>
            <a:defPPr>
              <a:defRPr lang="cs-CZ"/>
            </a:defPPr>
            <a:lvl1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  <a:defRPr sz="2400"/>
            </a:lvl1pPr>
          </a:lstStyle>
          <a:p>
            <a:r>
              <a:rPr lang="en-US"/>
              <a:t>Higher profits via cost reduction in logistics and personnel in return management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539B791-8F08-43CF-A73F-3D37E00BD710}"/>
              </a:ext>
            </a:extLst>
          </p:cNvPr>
          <p:cNvSpPr txBox="1"/>
          <p:nvPr/>
        </p:nvSpPr>
        <p:spPr>
          <a:xfrm>
            <a:off x="14480160" y="4888748"/>
            <a:ext cx="4273773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Less environmental impact via waste reduction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Wider range of ethically labelled product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5634255-858A-48DA-B36D-3B55BD8A6EE9}"/>
              </a:ext>
            </a:extLst>
          </p:cNvPr>
          <p:cNvSpPr txBox="1"/>
          <p:nvPr/>
        </p:nvSpPr>
        <p:spPr>
          <a:xfrm>
            <a:off x="14480159" y="6956763"/>
            <a:ext cx="4273773" cy="19389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Increased customer satisfaction with optimized product offering 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Better informed customers with ethical label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E30978E-7612-4A21-9E96-D6563F367FE7}"/>
              </a:ext>
            </a:extLst>
          </p:cNvPr>
          <p:cNvSpPr txBox="1"/>
          <p:nvPr/>
        </p:nvSpPr>
        <p:spPr>
          <a:xfrm>
            <a:off x="6890692" y="3172970"/>
            <a:ext cx="5388252" cy="56323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Create incentives for loyal customers to reduce returns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Sell higher proportion of ethical labelled products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Optimize online offering to avoid/ reduce product returns due to poor/inaccurate information (better recommendations, size guidance)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Inform online buyers about the negative environmental impact of returns (Nudging)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Reduce offering of discounted articles</a:t>
            </a:r>
          </a:p>
          <a:p>
            <a:pPr marL="285750" indent="-285750">
              <a:buClr>
                <a:srgbClr val="81BE41"/>
              </a:buClr>
              <a:buFont typeface="Wingdings" panose="05000000000000000000" pitchFamily="2" charset="2"/>
              <a:buChar char="§"/>
            </a:pPr>
            <a:r>
              <a:rPr lang="en-US" sz="2400"/>
              <a:t>Offer free delivery for items purchased online but charge customers for return logistic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4791EE6-31BA-49A2-9B83-6858274A49CF}"/>
              </a:ext>
            </a:extLst>
          </p:cNvPr>
          <p:cNvGrpSpPr/>
          <p:nvPr/>
        </p:nvGrpSpPr>
        <p:grpSpPr>
          <a:xfrm>
            <a:off x="597370" y="7631179"/>
            <a:ext cx="5143895" cy="1569660"/>
            <a:chOff x="540218" y="6619326"/>
            <a:chExt cx="5143895" cy="1569660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DFE6D03E-2108-40DC-83EE-3CBEDF2050B2}"/>
                </a:ext>
              </a:extLst>
            </p:cNvPr>
            <p:cNvSpPr txBox="1"/>
            <p:nvPr/>
          </p:nvSpPr>
          <p:spPr>
            <a:xfrm>
              <a:off x="540218" y="6619326"/>
              <a:ext cx="243268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81BE41"/>
                </a:buClr>
              </a:pPr>
              <a:r>
                <a:rPr lang="en-US" sz="2400" b="1"/>
                <a:t>Return drivers</a:t>
              </a:r>
            </a:p>
            <a:p>
              <a:pPr marL="285750" indent="-285750">
                <a:buClr>
                  <a:srgbClr val="81BE41"/>
                </a:buClr>
                <a:buFont typeface="Wingdings" panose="05000000000000000000" pitchFamily="2" charset="2"/>
                <a:buChar char="§"/>
              </a:pPr>
              <a:r>
                <a:rPr lang="en-US" sz="2400" err="1"/>
                <a:t>Prop_loyalcust</a:t>
              </a:r>
              <a:endParaRPr lang="en-US" sz="2400"/>
            </a:p>
            <a:p>
              <a:pPr marL="285750" indent="-285750">
                <a:buClr>
                  <a:srgbClr val="81BE41"/>
                </a:buClr>
                <a:buFont typeface="Wingdings" panose="05000000000000000000" pitchFamily="2" charset="2"/>
                <a:buChar char="§"/>
              </a:pPr>
              <a:r>
                <a:rPr lang="en-US" sz="2400" err="1"/>
                <a:t>Avg_discount</a:t>
              </a:r>
              <a:endParaRPr lang="en-US" sz="2400"/>
            </a:p>
            <a:p>
              <a:pPr marL="285750" indent="-285750">
                <a:buClr>
                  <a:srgbClr val="81BE41"/>
                </a:buClr>
                <a:buFont typeface="Wingdings" panose="05000000000000000000" pitchFamily="2" charset="2"/>
                <a:buChar char="§"/>
              </a:pPr>
              <a:r>
                <a:rPr lang="en-US" sz="2400" err="1"/>
                <a:t>Prop_online</a:t>
              </a:r>
              <a:endParaRPr lang="en-US" sz="240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2FAB249-352B-4C66-9E53-2CBEF0C3ACB7}"/>
                </a:ext>
              </a:extLst>
            </p:cNvPr>
            <p:cNvSpPr txBox="1"/>
            <p:nvPr/>
          </p:nvSpPr>
          <p:spPr>
            <a:xfrm>
              <a:off x="3251428" y="6619326"/>
              <a:ext cx="243268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81BE41"/>
                </a:buClr>
              </a:pPr>
              <a:r>
                <a:rPr lang="en-US" sz="2400" b="1"/>
                <a:t>Retain drivers</a:t>
              </a:r>
            </a:p>
            <a:p>
              <a:pPr marL="285750" indent="-285750">
                <a:buClr>
                  <a:srgbClr val="81BE41"/>
                </a:buClr>
                <a:buFont typeface="Wingdings" panose="05000000000000000000" pitchFamily="2" charset="2"/>
                <a:buChar char="§"/>
              </a:pPr>
              <a:r>
                <a:rPr lang="en-US" sz="2400" err="1"/>
                <a:t>label_Ethical</a:t>
              </a:r>
              <a:endParaRPr lang="en-US" sz="2400"/>
            </a:p>
            <a:p>
              <a:pPr marL="285750" indent="-285750">
                <a:buClr>
                  <a:srgbClr val="81BE41"/>
                </a:buClr>
                <a:buFont typeface="Wingdings" panose="05000000000000000000" pitchFamily="2" charset="2"/>
                <a:buChar char="§"/>
              </a:pPr>
              <a:r>
                <a:rPr lang="en-US" sz="2400" err="1"/>
                <a:t>Xmas_prop</a:t>
              </a:r>
              <a:endParaRPr lang="en-US" sz="2400"/>
            </a:p>
            <a:p>
              <a:pPr>
                <a:buClr>
                  <a:srgbClr val="81BE41"/>
                </a:buClr>
              </a:pPr>
              <a:endParaRPr lang="en-US" sz="2400"/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77A0F3DF-5675-4CFA-B540-CCBCBCBA98B3}"/>
              </a:ext>
            </a:extLst>
          </p:cNvPr>
          <p:cNvSpPr txBox="1"/>
          <p:nvPr/>
        </p:nvSpPr>
        <p:spPr>
          <a:xfrm>
            <a:off x="1423179" y="2547089"/>
            <a:ext cx="34323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turn driving predictors from logistic regression</a:t>
            </a:r>
            <a:endParaRPr lang="en-GB"/>
          </a:p>
        </p:txBody>
      </p:sp>
      <p:pic>
        <p:nvPicPr>
          <p:cNvPr id="6" name="Picture 5" descr="Chart, box and whisker chart&#10;&#10;Description automatically generated">
            <a:extLst>
              <a:ext uri="{FF2B5EF4-FFF2-40B4-BE49-F238E27FC236}">
                <a16:creationId xmlns:a16="http://schemas.microsoft.com/office/drawing/2014/main" id="{06ADDED8-2B8B-48B9-8476-F7BC00E23D4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68"/>
          <a:stretch/>
        </p:blipFill>
        <p:spPr>
          <a:xfrm>
            <a:off x="543834" y="3015840"/>
            <a:ext cx="5110912" cy="363247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9CF31DB6-20F9-47C1-A9EE-5DF87AB9FB3A}"/>
              </a:ext>
            </a:extLst>
          </p:cNvPr>
          <p:cNvSpPr txBox="1"/>
          <p:nvPr/>
        </p:nvSpPr>
        <p:spPr>
          <a:xfrm>
            <a:off x="543834" y="6696851"/>
            <a:ext cx="5388252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Clr>
                <a:srgbClr val="81BE41"/>
              </a:buClr>
            </a:pPr>
            <a:r>
              <a:rPr lang="en-US" sz="2400"/>
              <a:t>A logistic regression has been used to determine the size of coefficients:</a:t>
            </a:r>
          </a:p>
        </p:txBody>
      </p:sp>
    </p:spTree>
    <p:extLst>
      <p:ext uri="{BB962C8B-B14F-4D97-AF65-F5344CB8AC3E}">
        <p14:creationId xmlns:p14="http://schemas.microsoft.com/office/powerpoint/2010/main" val="3362921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neath the surface - by Lifeliqe.potx" id="{4B8C8C1B-0C50-449B-B30C-D12D5D26CCCC}" vid="{B302B916-BDB9-4DB9-8378-87DA5A6082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eneath the surface</Template>
  <Application>Microsoft Office PowerPoint</Application>
  <PresentationFormat>Custom</PresentationFormat>
  <Slides>4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Office Them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GNUS L?TT</dc:creator>
  <cp:revision>1</cp:revision>
  <dcterms:created xsi:type="dcterms:W3CDTF">2021-11-03T17:16:23Z</dcterms:created>
  <dcterms:modified xsi:type="dcterms:W3CDTF">2021-12-13T12:50:42Z</dcterms:modified>
</cp:coreProperties>
</file>